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0" r:id="rId5"/>
  </p:sldIdLst>
  <p:sldSz cx="9144000" cy="5143500" type="screen16x9"/>
  <p:notesSz cx="7099300" cy="10234613"/>
  <p:embeddedFontLst>
    <p:embeddedFont>
      <p:font typeface="GenosGFG" panose="020B0504040000000004" pitchFamily="34" charset="0"/>
      <p:regular r:id="rId8"/>
      <p:bold r:id="rId9"/>
      <p:italic r:id="rId10"/>
      <p:boldItalic r:id="rId11"/>
    </p:embeddedFont>
    <p:embeddedFont>
      <p:font typeface="Wingdings 2" panose="05020102010507070707" pitchFamily="18" charset="2"/>
      <p:regular r:id="rId12"/>
    </p:embeddedFont>
  </p:embeddedFontLst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4042">
          <p15:clr>
            <a:srgbClr val="A4A3A4"/>
          </p15:clr>
        </p15:guide>
        <p15:guide id="8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45F1AF-25D1-411D-BFBD-8E9B5C2A22BF}" v="37" dt="2026-01-29T22:02:58.9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566" y="403"/>
      </p:cViewPr>
      <p:guideLst>
        <p:guide orient="horz" pos="404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 Murasch" userId="1c67473c-5221-454e-a3ad-7de41bc9b73b" providerId="ADAL" clId="{0543603A-D467-47D8-87AA-F23586EF06FD}"/>
    <pc:docChg chg="undo custSel modSld">
      <pc:chgData name="Nico Murasch" userId="1c67473c-5221-454e-a3ad-7de41bc9b73b" providerId="ADAL" clId="{0543603A-D467-47D8-87AA-F23586EF06FD}" dt="2026-01-29T22:02:58.929" v="170" actId="478"/>
      <pc:docMkLst>
        <pc:docMk/>
      </pc:docMkLst>
      <pc:sldChg chg="addSp delSp modSp mod">
        <pc:chgData name="Nico Murasch" userId="1c67473c-5221-454e-a3ad-7de41bc9b73b" providerId="ADAL" clId="{0543603A-D467-47D8-87AA-F23586EF06FD}" dt="2026-01-29T22:02:58.929" v="170" actId="478"/>
        <pc:sldMkLst>
          <pc:docMk/>
          <pc:sldMk cId="439282883" sldId="280"/>
        </pc:sldMkLst>
        <pc:spChg chg="add del mod">
          <ac:chgData name="Nico Murasch" userId="1c67473c-5221-454e-a3ad-7de41bc9b73b" providerId="ADAL" clId="{0543603A-D467-47D8-87AA-F23586EF06FD}" dt="2026-01-29T22:02:58.929" v="170" actId="478"/>
          <ac:spMkLst>
            <pc:docMk/>
            <pc:sldMk cId="439282883" sldId="280"/>
            <ac:spMk id="2" creationId="{66055E43-F4D9-99F6-F61C-320200F0AE57}"/>
          </ac:spMkLst>
        </pc:spChg>
        <pc:spChg chg="del mod">
          <ac:chgData name="Nico Murasch" userId="1c67473c-5221-454e-a3ad-7de41bc9b73b" providerId="ADAL" clId="{0543603A-D467-47D8-87AA-F23586EF06FD}" dt="2026-01-29T21:43:32.091" v="84" actId="478"/>
          <ac:spMkLst>
            <pc:docMk/>
            <pc:sldMk cId="439282883" sldId="280"/>
            <ac:spMk id="3" creationId="{440FC386-A5EF-3A6E-0984-DE3E270D4115}"/>
          </ac:spMkLst>
        </pc:spChg>
        <pc:spChg chg="add mod">
          <ac:chgData name="Nico Murasch" userId="1c67473c-5221-454e-a3ad-7de41bc9b73b" providerId="ADAL" clId="{0543603A-D467-47D8-87AA-F23586EF06FD}" dt="2026-01-29T22:00:43.669" v="119" actId="120"/>
          <ac:spMkLst>
            <pc:docMk/>
            <pc:sldMk cId="439282883" sldId="280"/>
            <ac:spMk id="3" creationId="{B34369F8-583E-5C03-40B4-D6F8AE1C5FEC}"/>
          </ac:spMkLst>
        </pc:spChg>
        <pc:spChg chg="add mod">
          <ac:chgData name="Nico Murasch" userId="1c67473c-5221-454e-a3ad-7de41bc9b73b" providerId="ADAL" clId="{0543603A-D467-47D8-87AA-F23586EF06FD}" dt="2026-01-29T21:43:18.369" v="79" actId="1076"/>
          <ac:spMkLst>
            <pc:docMk/>
            <pc:sldMk cId="439282883" sldId="280"/>
            <ac:spMk id="6" creationId="{275A12F5-4357-214E-F962-663D963BC9F4}"/>
          </ac:spMkLst>
        </pc:spChg>
        <pc:spChg chg="mod">
          <ac:chgData name="Nico Murasch" userId="1c67473c-5221-454e-a3ad-7de41bc9b73b" providerId="ADAL" clId="{0543603A-D467-47D8-87AA-F23586EF06FD}" dt="2026-01-29T22:00:14.577" v="93" actId="299"/>
          <ac:spMkLst>
            <pc:docMk/>
            <pc:sldMk cId="439282883" sldId="280"/>
            <ac:spMk id="8" creationId="{3EF585F4-FC01-2EB0-6D18-AECEE213398C}"/>
          </ac:spMkLst>
        </pc:spChg>
        <pc:spChg chg="add mod">
          <ac:chgData name="Nico Murasch" userId="1c67473c-5221-454e-a3ad-7de41bc9b73b" providerId="ADAL" clId="{0543603A-D467-47D8-87AA-F23586EF06FD}" dt="2026-01-29T21:43:35.957" v="87"/>
          <ac:spMkLst>
            <pc:docMk/>
            <pc:sldMk cId="439282883" sldId="280"/>
            <ac:spMk id="9" creationId="{71702E04-6014-8316-3C75-0302BD9DBEA9}"/>
          </ac:spMkLst>
        </pc:spChg>
        <pc:spChg chg="add mod">
          <ac:chgData name="Nico Murasch" userId="1c67473c-5221-454e-a3ad-7de41bc9b73b" providerId="ADAL" clId="{0543603A-D467-47D8-87AA-F23586EF06FD}" dt="2026-01-29T22:02:21.263" v="153"/>
          <ac:spMkLst>
            <pc:docMk/>
            <pc:sldMk cId="439282883" sldId="280"/>
            <ac:spMk id="11" creationId="{9D51A058-A2BE-8417-C194-C21A76EB6600}"/>
          </ac:spMkLst>
        </pc:spChg>
        <pc:spChg chg="mod topLvl">
          <ac:chgData name="Nico Murasch" userId="1c67473c-5221-454e-a3ad-7de41bc9b73b" providerId="ADAL" clId="{0543603A-D467-47D8-87AA-F23586EF06FD}" dt="2026-01-29T21:37:53.393" v="60" actId="165"/>
          <ac:spMkLst>
            <pc:docMk/>
            <pc:sldMk cId="439282883" sldId="280"/>
            <ac:spMk id="13" creationId="{AAD3D9A4-00D9-09E1-1770-425A8CA921AD}"/>
          </ac:spMkLst>
        </pc:spChg>
        <pc:spChg chg="add del mod">
          <ac:chgData name="Nico Murasch" userId="1c67473c-5221-454e-a3ad-7de41bc9b73b" providerId="ADAL" clId="{0543603A-D467-47D8-87AA-F23586EF06FD}" dt="2026-01-29T22:02:04.314" v="149" actId="478"/>
          <ac:spMkLst>
            <pc:docMk/>
            <pc:sldMk cId="439282883" sldId="280"/>
            <ac:spMk id="14" creationId="{1C3354B9-461D-261B-FCCA-E858F454F5E5}"/>
          </ac:spMkLst>
        </pc:spChg>
        <pc:spChg chg="add del mod">
          <ac:chgData name="Nico Murasch" userId="1c67473c-5221-454e-a3ad-7de41bc9b73b" providerId="ADAL" clId="{0543603A-D467-47D8-87AA-F23586EF06FD}" dt="2026-01-29T21:43:33.724" v="85" actId="478"/>
          <ac:spMkLst>
            <pc:docMk/>
            <pc:sldMk cId="439282883" sldId="280"/>
            <ac:spMk id="14" creationId="{546E4A94-4D10-50D4-1D0E-E00B8EF89123}"/>
          </ac:spMkLst>
        </pc:spChg>
        <pc:spChg chg="add del mod">
          <ac:chgData name="Nico Murasch" userId="1c67473c-5221-454e-a3ad-7de41bc9b73b" providerId="ADAL" clId="{0543603A-D467-47D8-87AA-F23586EF06FD}" dt="2026-01-29T22:01:57.191" v="147"/>
          <ac:spMkLst>
            <pc:docMk/>
            <pc:sldMk cId="439282883" sldId="280"/>
            <ac:spMk id="15" creationId="{74ED3958-7250-E9A1-3B6F-F043E1C7570E}"/>
          </ac:spMkLst>
        </pc:spChg>
        <pc:spChg chg="add del mod">
          <ac:chgData name="Nico Murasch" userId="1c67473c-5221-454e-a3ad-7de41bc9b73b" providerId="ADAL" clId="{0543603A-D467-47D8-87AA-F23586EF06FD}" dt="2026-01-29T22:01:57.191" v="147"/>
          <ac:spMkLst>
            <pc:docMk/>
            <pc:sldMk cId="439282883" sldId="280"/>
            <ac:spMk id="16" creationId="{069872B6-5886-A065-6E86-C93094727523}"/>
          </ac:spMkLst>
        </pc:spChg>
        <pc:spChg chg="mod">
          <ac:chgData name="Nico Murasch" userId="1c67473c-5221-454e-a3ad-7de41bc9b73b" providerId="ADAL" clId="{0543603A-D467-47D8-87AA-F23586EF06FD}" dt="2026-01-29T22:02:14.416" v="152"/>
          <ac:spMkLst>
            <pc:docMk/>
            <pc:sldMk cId="439282883" sldId="280"/>
            <ac:spMk id="17" creationId="{23A38767-088F-AB21-74A9-AD2508BB97B6}"/>
          </ac:spMkLst>
        </pc:spChg>
        <pc:spChg chg="add mod">
          <ac:chgData name="Nico Murasch" userId="1c67473c-5221-454e-a3ad-7de41bc9b73b" providerId="ADAL" clId="{0543603A-D467-47D8-87AA-F23586EF06FD}" dt="2026-01-29T22:02:57.510" v="169"/>
          <ac:spMkLst>
            <pc:docMk/>
            <pc:sldMk cId="439282883" sldId="280"/>
            <ac:spMk id="18" creationId="{620B6D78-644D-5769-85EC-27998DF7E9D3}"/>
          </ac:spMkLst>
        </pc:spChg>
        <pc:spChg chg="add mod">
          <ac:chgData name="Nico Murasch" userId="1c67473c-5221-454e-a3ad-7de41bc9b73b" providerId="ADAL" clId="{0543603A-D467-47D8-87AA-F23586EF06FD}" dt="2026-01-29T22:02:52.654" v="168"/>
          <ac:spMkLst>
            <pc:docMk/>
            <pc:sldMk cId="439282883" sldId="280"/>
            <ac:spMk id="19" creationId="{3C45BCBC-22AE-F0D2-588E-D9CCC27B60AF}"/>
          </ac:spMkLst>
        </pc:spChg>
        <pc:spChg chg="mod topLvl">
          <ac:chgData name="Nico Murasch" userId="1c67473c-5221-454e-a3ad-7de41bc9b73b" providerId="ADAL" clId="{0543603A-D467-47D8-87AA-F23586EF06FD}" dt="2026-01-29T21:37:53.393" v="60" actId="165"/>
          <ac:spMkLst>
            <pc:docMk/>
            <pc:sldMk cId="439282883" sldId="280"/>
            <ac:spMk id="20" creationId="{3C57CF45-507C-C6DF-C9C8-0BD02F0023CA}"/>
          </ac:spMkLst>
        </pc:spChg>
        <pc:spChg chg="mod topLvl">
          <ac:chgData name="Nico Murasch" userId="1c67473c-5221-454e-a3ad-7de41bc9b73b" providerId="ADAL" clId="{0543603A-D467-47D8-87AA-F23586EF06FD}" dt="2026-01-29T21:37:53.393" v="60" actId="165"/>
          <ac:spMkLst>
            <pc:docMk/>
            <pc:sldMk cId="439282883" sldId="280"/>
            <ac:spMk id="23" creationId="{4142F832-7FBC-3216-730F-9CD5C23914E2}"/>
          </ac:spMkLst>
        </pc:spChg>
        <pc:spChg chg="mod topLvl">
          <ac:chgData name="Nico Murasch" userId="1c67473c-5221-454e-a3ad-7de41bc9b73b" providerId="ADAL" clId="{0543603A-D467-47D8-87AA-F23586EF06FD}" dt="2026-01-29T21:37:53.393" v="60" actId="165"/>
          <ac:spMkLst>
            <pc:docMk/>
            <pc:sldMk cId="439282883" sldId="280"/>
            <ac:spMk id="24" creationId="{0A8E5FD3-380D-AE8C-9571-A15D3A68B310}"/>
          </ac:spMkLst>
        </pc:spChg>
        <pc:spChg chg="mod topLvl">
          <ac:chgData name="Nico Murasch" userId="1c67473c-5221-454e-a3ad-7de41bc9b73b" providerId="ADAL" clId="{0543603A-D467-47D8-87AA-F23586EF06FD}" dt="2026-01-29T22:02:25.605" v="156" actId="1076"/>
          <ac:spMkLst>
            <pc:docMk/>
            <pc:sldMk cId="439282883" sldId="280"/>
            <ac:spMk id="26" creationId="{A36C7CC8-E8E5-2DFE-11B1-F08AB1763200}"/>
          </ac:spMkLst>
        </pc:spChg>
        <pc:spChg chg="mod topLvl">
          <ac:chgData name="Nico Murasch" userId="1c67473c-5221-454e-a3ad-7de41bc9b73b" providerId="ADAL" clId="{0543603A-D467-47D8-87AA-F23586EF06FD}" dt="2026-01-29T21:37:53.393" v="60" actId="165"/>
          <ac:spMkLst>
            <pc:docMk/>
            <pc:sldMk cId="439282883" sldId="280"/>
            <ac:spMk id="27" creationId="{85D32379-0B80-7F4B-6451-D2FE89217D5C}"/>
          </ac:spMkLst>
        </pc:spChg>
        <pc:spChg chg="del mod">
          <ac:chgData name="Nico Murasch" userId="1c67473c-5221-454e-a3ad-7de41bc9b73b" providerId="ADAL" clId="{0543603A-D467-47D8-87AA-F23586EF06FD}" dt="2026-01-29T22:02:23.707" v="154" actId="478"/>
          <ac:spMkLst>
            <pc:docMk/>
            <pc:sldMk cId="439282883" sldId="280"/>
            <ac:spMk id="28" creationId="{172457E8-1BDF-39D8-2474-A7753FD26102}"/>
          </ac:spMkLst>
        </pc:spChg>
        <pc:grpChg chg="del mod topLvl">
          <ac:chgData name="Nico Murasch" userId="1c67473c-5221-454e-a3ad-7de41bc9b73b" providerId="ADAL" clId="{0543603A-D467-47D8-87AA-F23586EF06FD}" dt="2026-01-29T21:37:53.393" v="60" actId="165"/>
          <ac:grpSpMkLst>
            <pc:docMk/>
            <pc:sldMk cId="439282883" sldId="280"/>
            <ac:grpSpMk id="21" creationId="{BE0785C0-3FBB-1AFC-44B4-154A8842869D}"/>
          </ac:grpSpMkLst>
        </pc:grpChg>
        <pc:grpChg chg="del mod topLvl">
          <ac:chgData name="Nico Murasch" userId="1c67473c-5221-454e-a3ad-7de41bc9b73b" providerId="ADAL" clId="{0543603A-D467-47D8-87AA-F23586EF06FD}" dt="2026-01-29T21:37:53.393" v="60" actId="165"/>
          <ac:grpSpMkLst>
            <pc:docMk/>
            <pc:sldMk cId="439282883" sldId="280"/>
            <ac:grpSpMk id="22" creationId="{B6A41D9E-F64C-8461-5274-E9F33943B63B}"/>
          </ac:grpSpMkLst>
        </pc:grpChg>
        <pc:grpChg chg="del mod topLvl">
          <ac:chgData name="Nico Murasch" userId="1c67473c-5221-454e-a3ad-7de41bc9b73b" providerId="ADAL" clId="{0543603A-D467-47D8-87AA-F23586EF06FD}" dt="2026-01-29T21:37:53.393" v="60" actId="165"/>
          <ac:grpSpMkLst>
            <pc:docMk/>
            <pc:sldMk cId="439282883" sldId="280"/>
            <ac:grpSpMk id="25" creationId="{4979B727-BE7D-7274-A8F3-264BE49CE0CC}"/>
          </ac:grpSpMkLst>
        </pc:grpChg>
        <pc:grpChg chg="del">
          <ac:chgData name="Nico Murasch" userId="1c67473c-5221-454e-a3ad-7de41bc9b73b" providerId="ADAL" clId="{0543603A-D467-47D8-87AA-F23586EF06FD}" dt="2026-01-29T21:37:52.059" v="59" actId="165"/>
          <ac:grpSpMkLst>
            <pc:docMk/>
            <pc:sldMk cId="439282883" sldId="280"/>
            <ac:grpSpMk id="29" creationId="{F832DB6E-0EC5-1999-E6BA-1BB3956228D4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 bwMode="gray">
          <a:xfrm>
            <a:off x="455382" y="1"/>
            <a:ext cx="4919131" cy="51173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endParaRPr lang="de-DE" sz="1100" noProof="1">
              <a:solidFill>
                <a:schemeClr val="bg1">
                  <a:lumMod val="65000"/>
                </a:schemeClr>
              </a:solidFill>
              <a:latin typeface="GenosGFG" panose="020B0504040000000004" pitchFamily="34" charset="0"/>
            </a:endParaRPr>
          </a:p>
        </p:txBody>
      </p:sp>
      <p:sp>
        <p:nvSpPr>
          <p:cNvPr id="7" name="Datumsplatzhalter 6"/>
          <p:cNvSpPr>
            <a:spLocks noGrp="1"/>
          </p:cNvSpPr>
          <p:nvPr>
            <p:ph type="dt" sz="quarter" idx="1"/>
          </p:nvPr>
        </p:nvSpPr>
        <p:spPr bwMode="gray">
          <a:xfrm>
            <a:off x="5563882" y="1"/>
            <a:ext cx="1043585" cy="51173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AF0EF817-7563-4712-A3B7-12F806C128AB}" type="datetime1">
              <a:rPr lang="de-DE" sz="1100" noProof="1" smtClean="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rPr>
              <a:t>29.01.2026</a:t>
            </a:fld>
            <a:endParaRPr lang="de-DE" sz="1100" noProof="1">
              <a:solidFill>
                <a:schemeClr val="bg1">
                  <a:lumMod val="65000"/>
                </a:schemeClr>
              </a:solidFill>
              <a:latin typeface="GenosGFG" panose="020B0504040000000004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3"/>
          </p:nvPr>
        </p:nvSpPr>
        <p:spPr bwMode="gray">
          <a:xfrm>
            <a:off x="5557337" y="9710445"/>
            <a:ext cx="1043585" cy="522392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C43FE0F0-DA81-478A-8E9C-2D45097E5CE6}" type="slidenum">
              <a:rPr lang="de-DE" sz="1100" b="1" noProof="1" smtClean="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rPr>
              <a:pPr algn="r"/>
              <a:t>‹Nr.›</a:t>
            </a:fld>
            <a:endParaRPr lang="de-DE" sz="1100" b="1" noProof="1">
              <a:solidFill>
                <a:schemeClr val="bg1">
                  <a:lumMod val="65000"/>
                </a:schemeClr>
              </a:solidFill>
              <a:latin typeface="GenosGFG" panose="020B0504040000000004" pitchFamily="34" charset="0"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"/>
          </p:nvPr>
        </p:nvSpPr>
        <p:spPr bwMode="gray">
          <a:xfrm>
            <a:off x="492450" y="9721107"/>
            <a:ext cx="4919133" cy="51173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endParaRPr lang="de-DE" sz="1100" noProof="1">
              <a:solidFill>
                <a:schemeClr val="bg1">
                  <a:lumMod val="65000"/>
                </a:schemeClr>
              </a:solidFill>
              <a:latin typeface="GenosGFG" panose="020B05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6599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idx="1"/>
          </p:nvPr>
        </p:nvSpPr>
        <p:spPr bwMode="gray">
          <a:xfrm>
            <a:off x="6159300" y="0"/>
            <a:ext cx="938356" cy="5241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1000" smtClean="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defRPr>
            </a:lvl1pPr>
          </a:lstStyle>
          <a:p>
            <a:fld id="{766E48BC-0774-478E-B1EC-BA901B836C36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9" name="Kopfzeilenplatzhalter 8"/>
          <p:cNvSpPr>
            <a:spLocks noGrp="1"/>
          </p:cNvSpPr>
          <p:nvPr>
            <p:ph type="hdr" sz="quarter"/>
          </p:nvPr>
        </p:nvSpPr>
        <p:spPr bwMode="gray">
          <a:xfrm>
            <a:off x="940000" y="-1"/>
            <a:ext cx="5216325" cy="5241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defRPr>
            </a:lvl1pPr>
          </a:lstStyle>
          <a:p>
            <a:endParaRPr lang="de-DE" noProof="1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5"/>
          </p:nvPr>
        </p:nvSpPr>
        <p:spPr bwMode="gray">
          <a:xfrm>
            <a:off x="6159300" y="9710445"/>
            <a:ext cx="938356" cy="52239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1000" b="1" smtClean="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defRPr>
            </a:lvl1pPr>
          </a:lstStyle>
          <a:p>
            <a:fld id="{E77050BE-697B-405C-9827-9A539900E6E9}" type="slidenum">
              <a:rPr lang="de-DE" noProof="1" smtClean="0"/>
              <a:pPr/>
              <a:t>‹Nr.›</a:t>
            </a:fld>
            <a:endParaRPr lang="de-DE" noProof="1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4"/>
          </p:nvPr>
        </p:nvSpPr>
        <p:spPr bwMode="gray">
          <a:xfrm>
            <a:off x="940000" y="9710445"/>
            <a:ext cx="5216325" cy="52239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bg1">
                    <a:lumMod val="65000"/>
                  </a:schemeClr>
                </a:solidFill>
                <a:latin typeface="GenosGFG" panose="020B0504040000000004" pitchFamily="34" charset="0"/>
              </a:defRPr>
            </a:lvl1pPr>
          </a:lstStyle>
          <a:p>
            <a:endParaRPr lang="de-DE" noProof="1"/>
          </a:p>
        </p:txBody>
      </p:sp>
      <p:sp>
        <p:nvSpPr>
          <p:cNvPr id="12" name="Notizenplatzhalter 11"/>
          <p:cNvSpPr>
            <a:spLocks noGrp="1"/>
          </p:cNvSpPr>
          <p:nvPr>
            <p:ph type="body" sz="quarter" idx="3"/>
          </p:nvPr>
        </p:nvSpPr>
        <p:spPr bwMode="gray">
          <a:xfrm>
            <a:off x="935039" y="4011613"/>
            <a:ext cx="5216324" cy="545540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  <a:p>
            <a:pPr lvl="5"/>
            <a:r>
              <a:rPr lang="de-DE" noProof="1"/>
              <a:t>Sechste Ebene</a:t>
            </a:r>
          </a:p>
          <a:p>
            <a:pPr lvl="6"/>
            <a:r>
              <a:rPr lang="de-DE" noProof="1"/>
              <a:t>Siebte Ebene</a:t>
            </a:r>
          </a:p>
          <a:p>
            <a:pPr lvl="7"/>
            <a:r>
              <a:rPr lang="de-DE" noProof="1"/>
              <a:t>Achte Ebene</a:t>
            </a:r>
          </a:p>
          <a:p>
            <a:pPr lvl="8"/>
            <a:r>
              <a:rPr lang="de-DE" noProof="1"/>
              <a:t>Neunte Ebene</a:t>
            </a:r>
          </a:p>
        </p:txBody>
      </p:sp>
      <p:sp>
        <p:nvSpPr>
          <p:cNvPr id="13" name="Folienbildplatzhalter 12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40000" y="765175"/>
            <a:ext cx="5216325" cy="293578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99075" tIns="49538" rIns="99075" bIns="49538" rtlCol="0" anchor="ctr"/>
          <a:lstStyle/>
          <a:p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16645717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spcBef>
        <a:spcPts val="300"/>
      </a:spcBef>
      <a:spcAft>
        <a:spcPts val="300"/>
      </a:spcAft>
      <a:defRPr sz="1000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spcAft>
        <a:spcPts val="300"/>
      </a:spcAft>
      <a:defRPr sz="1000" b="1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2pPr>
    <a:lvl3pPr marL="216000" indent="-216000" algn="l" defTabSz="914400" rtl="0" eaLnBrk="1" latinLnBrk="0" hangingPunct="1">
      <a:spcBef>
        <a:spcPts val="400"/>
      </a:spcBef>
      <a:spcAft>
        <a:spcPts val="300"/>
      </a:spcAft>
      <a:buClr>
        <a:schemeClr val="bg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3pPr>
    <a:lvl4pPr marL="432000" indent="-216000" algn="l" defTabSz="914400" rtl="0" eaLnBrk="1" latinLnBrk="0" hangingPunct="1">
      <a:spcAft>
        <a:spcPts val="600"/>
      </a:spcAft>
      <a:buClr>
        <a:schemeClr val="bg2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4pPr>
    <a:lvl5pPr marL="216000" indent="-216000" algn="l" defTabSz="914400" rtl="0" eaLnBrk="1" latinLnBrk="0" hangingPunct="1">
      <a:spcBef>
        <a:spcPts val="400"/>
      </a:spcBef>
      <a:spcAft>
        <a:spcPts val="300"/>
      </a:spcAft>
      <a:buClr>
        <a:schemeClr val="tx2"/>
      </a:buClr>
      <a:buFont typeface="+mj-lt"/>
      <a:buAutoNum type="arabicPeriod"/>
      <a:defRPr sz="1100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5pPr>
    <a:lvl6pPr marL="432000" indent="-216000" algn="l" defTabSz="914400" rtl="0" eaLnBrk="1" latinLnBrk="0" hangingPunct="1">
      <a:spcAft>
        <a:spcPts val="600"/>
      </a:spcAft>
      <a:buClr>
        <a:schemeClr val="tx2"/>
      </a:buClr>
      <a:buFont typeface="+mj-lt"/>
      <a:buAutoNum type="alphaLcPeriod"/>
      <a:defRPr sz="1100" kern="1200">
        <a:solidFill>
          <a:schemeClr val="tx1"/>
        </a:solidFill>
        <a:latin typeface="GenosGFG" panose="020B0504040000000004" pitchFamily="34" charset="0"/>
        <a:ea typeface="+mn-ea"/>
        <a:cs typeface="+mn-cs"/>
      </a:defRPr>
    </a:lvl6pPr>
    <a:lvl7pPr marL="0" indent="0" algn="l" defTabSz="914400" rtl="0" eaLnBrk="1" latinLnBrk="0" hangingPunct="1">
      <a:spcBef>
        <a:spcPts val="400"/>
      </a:spcBef>
      <a:spcAft>
        <a:spcPts val="300"/>
      </a:spcAft>
      <a:defRPr sz="1100" b="1" kern="1200" cap="none" baseline="0">
        <a:solidFill>
          <a:schemeClr val="bg2"/>
        </a:solidFill>
        <a:latin typeface="GenosGFG" panose="020B0504040000000004" pitchFamily="34" charset="0"/>
        <a:ea typeface="+mn-ea"/>
        <a:cs typeface="+mn-cs"/>
      </a:defRPr>
    </a:lvl7pPr>
    <a:lvl8pPr marL="0" indent="0" algn="l" defTabSz="914400" rtl="0" eaLnBrk="1" latinLnBrk="0" hangingPunct="1">
      <a:spcBef>
        <a:spcPts val="400"/>
      </a:spcBef>
      <a:spcAft>
        <a:spcPts val="300"/>
      </a:spcAft>
      <a:defRPr sz="1100" b="1" kern="1200" cap="none" baseline="0">
        <a:solidFill>
          <a:schemeClr val="tx2"/>
        </a:solidFill>
        <a:latin typeface="GenosGFG" panose="020B0504040000000004" pitchFamily="34" charset="0"/>
        <a:ea typeface="+mn-ea"/>
        <a:cs typeface="+mn-cs"/>
      </a:defRPr>
    </a:lvl8pPr>
    <a:lvl9pPr marL="0" indent="0" algn="l" defTabSz="914400" rtl="0" eaLnBrk="1" latinLnBrk="0" hangingPunct="1">
      <a:spcBef>
        <a:spcPts val="300"/>
      </a:spcBef>
      <a:spcAft>
        <a:spcPts val="0"/>
      </a:spcAft>
      <a:defRPr sz="600" kern="1200">
        <a:solidFill>
          <a:schemeClr val="bg1">
            <a:lumMod val="65000"/>
          </a:schemeClr>
        </a:solidFill>
        <a:latin typeface="GenosGFG" panose="020B0504040000000004" pitchFamily="34" charset="0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589" userDrawn="1">
          <p15:clr>
            <a:srgbClr val="F26B43"/>
          </p15:clr>
        </p15:guide>
        <p15:guide id="2" pos="3878" userDrawn="1">
          <p15:clr>
            <a:srgbClr val="F26B43"/>
          </p15:clr>
        </p15:guide>
        <p15:guide id="4" orient="horz" pos="486" userDrawn="1">
          <p15:clr>
            <a:srgbClr val="F26B43"/>
          </p15:clr>
        </p15:guide>
        <p15:guide id="5" orient="horz" pos="25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9800" y="765175"/>
            <a:ext cx="5216525" cy="2935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68BC4B-AA2E-49B8-B4F0-B5FBD12A37DF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7050BE-697B-405C-9827-9A539900E6E9}" type="slidenum">
              <a:rPr lang="de-DE" noProof="1" smtClean="0"/>
              <a:pPr/>
              <a:t>1</a:t>
            </a:fld>
            <a:endParaRPr lang="de-DE" noProof="1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584835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B5928A77-A9A4-4E1F-9C0A-6F7319BFC4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9143999" cy="5143500"/>
          </a:xfrm>
          <a:custGeom>
            <a:avLst/>
            <a:gdLst>
              <a:gd name="connsiteX0" fmla="*/ 0 w 9143999"/>
              <a:gd name="connsiteY0" fmla="*/ 0 h 5143500"/>
              <a:gd name="connsiteX1" fmla="*/ 9143999 w 9143999"/>
              <a:gd name="connsiteY1" fmla="*/ 0 h 5143500"/>
              <a:gd name="connsiteX2" fmla="*/ 9143999 w 9143999"/>
              <a:gd name="connsiteY2" fmla="*/ 5143500 h 5143500"/>
              <a:gd name="connsiteX3" fmla="*/ 0 w 9143999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3999" h="5143500"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540000" rIns="0" anchor="t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Kopieren Sie ein Bild in die Zwischenablage, 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 Dunkeln Sie Bilder bei Bedarf über Bildformat &gt; Korrekturen ab. </a:t>
            </a:r>
            <a:br>
              <a:rPr lang="de-DE" noProof="1"/>
            </a:br>
            <a:r>
              <a:rPr lang="de-DE" noProof="1"/>
              <a:t>Achten Sie darauf, dass das Logo im Vordergrund ist.</a:t>
            </a:r>
          </a:p>
        </p:txBody>
      </p:sp>
      <p:sp>
        <p:nvSpPr>
          <p:cNvPr id="14" name="Titel 7">
            <a:extLst>
              <a:ext uri="{FF2B5EF4-FFF2-40B4-BE49-F238E27FC236}">
                <a16:creationId xmlns:a16="http://schemas.microsoft.com/office/drawing/2014/main" id="{868ABCB8-05BA-4836-936D-3770258EBC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0" y="2136404"/>
            <a:ext cx="8205027" cy="971922"/>
          </a:xfrm>
        </p:spPr>
        <p:txBody>
          <a:bodyPr/>
          <a:lstStyle>
            <a:lvl1pPr>
              <a:defRPr sz="3600" cap="none" baseline="0">
                <a:solidFill>
                  <a:schemeClr val="bg1"/>
                </a:solidFill>
              </a:defRPr>
            </a:lvl1pPr>
            <a:lvl2pPr algn="l">
              <a:defRPr sz="3600">
                <a:solidFill>
                  <a:schemeClr val="bg1"/>
                </a:solidFill>
              </a:defRPr>
            </a:lvl2pPr>
            <a:lvl3pPr algn="l">
              <a:defRPr sz="3600">
                <a:solidFill>
                  <a:schemeClr val="bg1"/>
                </a:solidFill>
              </a:defRPr>
            </a:lvl3pPr>
            <a:lvl4pPr algn="l">
              <a:defRPr sz="3600">
                <a:solidFill>
                  <a:schemeClr val="bg1"/>
                </a:solidFill>
                <a:latin typeface="+mj-lt"/>
              </a:defRPr>
            </a:lvl4pPr>
            <a:lvl5pPr algn="l">
              <a:defRPr sz="3600">
                <a:solidFill>
                  <a:schemeClr val="bg1"/>
                </a:solidFill>
              </a:defRPr>
            </a:lvl5pPr>
            <a:lvl6pPr algn="l">
              <a:defRPr sz="3600">
                <a:solidFill>
                  <a:schemeClr val="bg1"/>
                </a:solidFill>
              </a:defRPr>
            </a:lvl6pPr>
            <a:lvl7pPr algn="l">
              <a:defRPr sz="3600">
                <a:solidFill>
                  <a:schemeClr val="bg1"/>
                </a:solidFill>
              </a:defRPr>
            </a:lvl7pPr>
            <a:lvl8pPr algn="l">
              <a:defRPr sz="3600">
                <a:solidFill>
                  <a:schemeClr val="bg1"/>
                </a:solidFill>
              </a:defRPr>
            </a:lvl8pPr>
            <a:lvl9pPr algn="l">
              <a:defRPr sz="3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Dies ist eine Titelfolie</a:t>
            </a:r>
            <a:br>
              <a:rPr lang="de-DE" noProof="1"/>
            </a:br>
            <a:r>
              <a:rPr lang="de-DE" noProof="1"/>
              <a:t>die zweizeilig funktioniert</a:t>
            </a: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DF72E126-3C8B-43A5-97FD-4A19D1592FBC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>
          <a:xfrm>
            <a:off x="791580" y="5189240"/>
            <a:ext cx="477447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666A4D67-0942-441E-BA21-274BDACEFECF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8" name="Fußzeilenplatzhalter 8">
            <a:extLst>
              <a:ext uri="{FF2B5EF4-FFF2-40B4-BE49-F238E27FC236}">
                <a16:creationId xmlns:a16="http://schemas.microsoft.com/office/drawing/2014/main" id="{078FD2DD-94C4-4C56-B57A-625C2AF478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>
          <a:xfrm>
            <a:off x="470660" y="-213767"/>
            <a:ext cx="5396739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9" name="Foliennummernplatzhalter 9">
            <a:extLst>
              <a:ext uri="{FF2B5EF4-FFF2-40B4-BE49-F238E27FC236}">
                <a16:creationId xmlns:a16="http://schemas.microsoft.com/office/drawing/2014/main" id="{3BC16130-A578-476A-9492-F808A8B5854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>
          <a:xfrm>
            <a:off x="470661" y="5189239"/>
            <a:ext cx="284915" cy="13860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09108091-F8EC-4BEF-B99E-1C47BB31DF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0660" y="3679693"/>
            <a:ext cx="2588453" cy="36004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000" b="0" cap="none" baseline="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None/>
              <a:defRPr sz="1000" b="0" cap="none" baseline="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Das ist der Untertitel der Präsentation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C2A0AE-4225-A362-926A-93AA453842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87524" y="1059582"/>
            <a:ext cx="2600325" cy="7239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tte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403435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82" userDrawn="1">
          <p15:clr>
            <a:srgbClr val="5ACBF0"/>
          </p15:clr>
        </p15:guide>
        <p15:guide id="2" pos="295" userDrawn="1">
          <p15:clr>
            <a:srgbClr val="5ACBF0"/>
          </p15:clr>
        </p15:guide>
        <p15:guide id="3" orient="horz" pos="1008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x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3993388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79950" y="1240870"/>
            <a:ext cx="3995741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5DCE4EA-9034-4B57-9380-49676352B7E7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8F98E19C-A389-4FC4-8B45-98E52A4145A3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73EDC0-4265-4E7A-B888-2BF1ACCF82D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D05AEF-A4C4-40FD-A5B4-3C5EA930526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16448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x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2588452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8981" y="1240870"/>
            <a:ext cx="2588452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84888" y="1240870"/>
            <a:ext cx="2590803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C96E23-8839-4F4B-AFEB-0B6E7C2D758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35F056B-CB4B-4768-A0D0-E60603C08211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A75A50-5DF1-4AE0-BF4A-6A45EFFD4C6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7DAD1F-5FB7-4AD7-B8AF-D9BF514E71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59190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klei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5396737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84C44D7-1DE3-4B57-BC49-5BAB29BCCC7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88900" y="0"/>
            <a:ext cx="3055099" cy="5143134"/>
          </a:xfrm>
          <a:custGeom>
            <a:avLst/>
            <a:gdLst>
              <a:gd name="connsiteX0" fmla="*/ 2276339 w 3055099"/>
              <a:gd name="connsiteY0" fmla="*/ 261815 h 5143134"/>
              <a:gd name="connsiteX1" fmla="*/ 2276339 w 3055099"/>
              <a:gd name="connsiteY1" fmla="*/ 482649 h 5143134"/>
              <a:gd name="connsiteX2" fmla="*/ 2595835 w 3055099"/>
              <a:gd name="connsiteY2" fmla="*/ 482649 h 5143134"/>
              <a:gd name="connsiteX3" fmla="*/ 2595835 w 3055099"/>
              <a:gd name="connsiteY3" fmla="*/ 261815 h 5143134"/>
              <a:gd name="connsiteX4" fmla="*/ 631498 w 3055099"/>
              <a:gd name="connsiteY4" fmla="*/ 0 h 5143134"/>
              <a:gd name="connsiteX5" fmla="*/ 1013235 w 3055099"/>
              <a:gd name="connsiteY5" fmla="*/ 0 h 5143134"/>
              <a:gd name="connsiteX6" fmla="*/ 1027610 w 3055099"/>
              <a:gd name="connsiteY6" fmla="*/ 0 h 5143134"/>
              <a:gd name="connsiteX7" fmla="*/ 1432524 w 3055099"/>
              <a:gd name="connsiteY7" fmla="*/ 0 h 5143134"/>
              <a:gd name="connsiteX8" fmla="*/ 1447044 w 3055099"/>
              <a:gd name="connsiteY8" fmla="*/ 0 h 5143134"/>
              <a:gd name="connsiteX9" fmla="*/ 1861897 w 3055099"/>
              <a:gd name="connsiteY9" fmla="*/ 0 h 5143134"/>
              <a:gd name="connsiteX10" fmla="*/ 1876565 w 3055099"/>
              <a:gd name="connsiteY10" fmla="*/ 0 h 5143134"/>
              <a:gd name="connsiteX11" fmla="*/ 2413848 w 3055099"/>
              <a:gd name="connsiteY11" fmla="*/ 0 h 5143134"/>
              <a:gd name="connsiteX12" fmla="*/ 2428707 w 3055099"/>
              <a:gd name="connsiteY12" fmla="*/ 0 h 5143134"/>
              <a:gd name="connsiteX13" fmla="*/ 2833136 w 3055099"/>
              <a:gd name="connsiteY13" fmla="*/ 0 h 5143134"/>
              <a:gd name="connsiteX14" fmla="*/ 2848141 w 3055099"/>
              <a:gd name="connsiteY14" fmla="*/ 0 h 5143134"/>
              <a:gd name="connsiteX15" fmla="*/ 3055099 w 3055099"/>
              <a:gd name="connsiteY15" fmla="*/ 0 h 5143134"/>
              <a:gd name="connsiteX16" fmla="*/ 3055099 w 3055099"/>
              <a:gd name="connsiteY16" fmla="*/ 5143134 h 5143134"/>
              <a:gd name="connsiteX17" fmla="*/ 0 w 3055099"/>
              <a:gd name="connsiteY17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55099" h="5143134">
                <a:moveTo>
                  <a:pt x="2276339" y="261815"/>
                </a:moveTo>
                <a:lnTo>
                  <a:pt x="2276339" y="482649"/>
                </a:lnTo>
                <a:lnTo>
                  <a:pt x="2595835" y="482649"/>
                </a:lnTo>
                <a:lnTo>
                  <a:pt x="2595835" y="261815"/>
                </a:lnTo>
                <a:close/>
                <a:moveTo>
                  <a:pt x="631498" y="0"/>
                </a:moveTo>
                <a:lnTo>
                  <a:pt x="1013235" y="0"/>
                </a:lnTo>
                <a:lnTo>
                  <a:pt x="1027610" y="0"/>
                </a:lnTo>
                <a:lnTo>
                  <a:pt x="1432524" y="0"/>
                </a:lnTo>
                <a:lnTo>
                  <a:pt x="1447044" y="0"/>
                </a:lnTo>
                <a:lnTo>
                  <a:pt x="1861897" y="0"/>
                </a:lnTo>
                <a:lnTo>
                  <a:pt x="1876565" y="0"/>
                </a:lnTo>
                <a:lnTo>
                  <a:pt x="2413848" y="0"/>
                </a:lnTo>
                <a:lnTo>
                  <a:pt x="2428707" y="0"/>
                </a:lnTo>
                <a:lnTo>
                  <a:pt x="2833136" y="0"/>
                </a:lnTo>
                <a:lnTo>
                  <a:pt x="2848141" y="0"/>
                </a:lnTo>
                <a:lnTo>
                  <a:pt x="3055099" y="0"/>
                </a:lnTo>
                <a:lnTo>
                  <a:pt x="3055099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0" bIns="1836000" anchor="b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84888" y="4886077"/>
            <a:ext cx="2590802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9D52384C-FA8A-482C-BDFA-C203B65DE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0" y="555626"/>
            <a:ext cx="5396739" cy="468312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31" name="Datumsplatzhalter 30">
            <a:extLst>
              <a:ext uri="{FF2B5EF4-FFF2-40B4-BE49-F238E27FC236}">
                <a16:creationId xmlns:a16="http://schemas.microsoft.com/office/drawing/2014/main" id="{5EC9ACAA-6CC0-4FEE-A7A9-BE927FCC89A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C400C795-B21D-4A6E-8451-A6829F84FF7E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AA13D55B-6756-4F8E-82EB-2F5663547F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89902DF8-33AE-410C-AFE6-5B4DC6F58D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59907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3993388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CBD26F34-4926-4D7B-A0FF-7832C5BB345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81538" y="0"/>
            <a:ext cx="4462461" cy="5143134"/>
          </a:xfrm>
          <a:custGeom>
            <a:avLst/>
            <a:gdLst>
              <a:gd name="connsiteX0" fmla="*/ 3684975 w 4464004"/>
              <a:gd name="connsiteY0" fmla="*/ 261815 h 5143134"/>
              <a:gd name="connsiteX1" fmla="*/ 3684975 w 4464004"/>
              <a:gd name="connsiteY1" fmla="*/ 482649 h 5143134"/>
              <a:gd name="connsiteX2" fmla="*/ 4004581 w 4464004"/>
              <a:gd name="connsiteY2" fmla="*/ 482649 h 5143134"/>
              <a:gd name="connsiteX3" fmla="*/ 4004581 w 4464004"/>
              <a:gd name="connsiteY3" fmla="*/ 261815 h 5143134"/>
              <a:gd name="connsiteX4" fmla="*/ 631498 w 4464004"/>
              <a:gd name="connsiteY4" fmla="*/ 0 h 5143134"/>
              <a:gd name="connsiteX5" fmla="*/ 1869292 w 4464004"/>
              <a:gd name="connsiteY5" fmla="*/ 0 h 5143134"/>
              <a:gd name="connsiteX6" fmla="*/ 2421434 w 4464004"/>
              <a:gd name="connsiteY6" fmla="*/ 0 h 5143134"/>
              <a:gd name="connsiteX7" fmla="*/ 2840868 w 4464004"/>
              <a:gd name="connsiteY7" fmla="*/ 0 h 5143134"/>
              <a:gd name="connsiteX8" fmla="*/ 3270389 w 4464004"/>
              <a:gd name="connsiteY8" fmla="*/ 0 h 5143134"/>
              <a:gd name="connsiteX9" fmla="*/ 3822531 w 4464004"/>
              <a:gd name="connsiteY9" fmla="*/ 0 h 5143134"/>
              <a:gd name="connsiteX10" fmla="*/ 4241965 w 4464004"/>
              <a:gd name="connsiteY10" fmla="*/ 0 h 5143134"/>
              <a:gd name="connsiteX11" fmla="*/ 4464004 w 4464004"/>
              <a:gd name="connsiteY11" fmla="*/ 0 h 5143134"/>
              <a:gd name="connsiteX12" fmla="*/ 4464004 w 4464004"/>
              <a:gd name="connsiteY12" fmla="*/ 5143134 h 5143134"/>
              <a:gd name="connsiteX13" fmla="*/ 0 w 4464004"/>
              <a:gd name="connsiteY1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464004" h="5143134">
                <a:moveTo>
                  <a:pt x="3684975" y="261815"/>
                </a:moveTo>
                <a:lnTo>
                  <a:pt x="3684975" y="482649"/>
                </a:lnTo>
                <a:lnTo>
                  <a:pt x="4004581" y="482649"/>
                </a:lnTo>
                <a:lnTo>
                  <a:pt x="4004581" y="261815"/>
                </a:lnTo>
                <a:close/>
                <a:moveTo>
                  <a:pt x="631498" y="0"/>
                </a:moveTo>
                <a:lnTo>
                  <a:pt x="1869292" y="0"/>
                </a:lnTo>
                <a:lnTo>
                  <a:pt x="2421434" y="0"/>
                </a:lnTo>
                <a:lnTo>
                  <a:pt x="2840868" y="0"/>
                </a:lnTo>
                <a:lnTo>
                  <a:pt x="3270389" y="0"/>
                </a:lnTo>
                <a:lnTo>
                  <a:pt x="3822531" y="0"/>
                </a:lnTo>
                <a:lnTo>
                  <a:pt x="4241965" y="0"/>
                </a:lnTo>
                <a:lnTo>
                  <a:pt x="4464004" y="0"/>
                </a:lnTo>
                <a:lnTo>
                  <a:pt x="4464004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836000" anchor="b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79949" y="4886077"/>
            <a:ext cx="3995741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9D52384C-FA8A-482C-BDFA-C203B65DE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6"/>
            <a:ext cx="3993390" cy="468312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31" name="Datumsplatzhalter 30">
            <a:extLst>
              <a:ext uri="{FF2B5EF4-FFF2-40B4-BE49-F238E27FC236}">
                <a16:creationId xmlns:a16="http://schemas.microsoft.com/office/drawing/2014/main" id="{5EC9ACAA-6CC0-4FEE-A7A9-BE927FCC89A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332D17DE-DC35-4A5E-A246-E14F0992588A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AA13D55B-6756-4F8E-82EB-2F5663547F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>
          <a:xfrm>
            <a:off x="470660" y="269743"/>
            <a:ext cx="3993391" cy="138607"/>
          </a:xfrm>
        </p:spPr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89902DF8-33AE-410C-AFE6-5B4DC6F58D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13900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B1CEB4B-66DD-4827-87FF-FDDC8DF7073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3278188" y="0"/>
            <a:ext cx="5865811" cy="5143134"/>
          </a:xfrm>
          <a:custGeom>
            <a:avLst/>
            <a:gdLst>
              <a:gd name="connsiteX0" fmla="*/ 5087051 w 5865811"/>
              <a:gd name="connsiteY0" fmla="*/ 261815 h 5143134"/>
              <a:gd name="connsiteX1" fmla="*/ 5087051 w 5865811"/>
              <a:gd name="connsiteY1" fmla="*/ 482649 h 5143134"/>
              <a:gd name="connsiteX2" fmla="*/ 5406547 w 5865811"/>
              <a:gd name="connsiteY2" fmla="*/ 482649 h 5143134"/>
              <a:gd name="connsiteX3" fmla="*/ 5406547 w 5865811"/>
              <a:gd name="connsiteY3" fmla="*/ 261815 h 5143134"/>
              <a:gd name="connsiteX4" fmla="*/ 631280 w 5865811"/>
              <a:gd name="connsiteY4" fmla="*/ 0 h 5143134"/>
              <a:gd name="connsiteX5" fmla="*/ 1868646 w 5865811"/>
              <a:gd name="connsiteY5" fmla="*/ 0 h 5143134"/>
              <a:gd name="connsiteX6" fmla="*/ 2034630 w 5865811"/>
              <a:gd name="connsiteY6" fmla="*/ 0 h 5143134"/>
              <a:gd name="connsiteX7" fmla="*/ 2420597 w 5865811"/>
              <a:gd name="connsiteY7" fmla="*/ 0 h 5143134"/>
              <a:gd name="connsiteX8" fmla="*/ 2839886 w 5865811"/>
              <a:gd name="connsiteY8" fmla="*/ 0 h 5143134"/>
              <a:gd name="connsiteX9" fmla="*/ 3269259 w 5865811"/>
              <a:gd name="connsiteY9" fmla="*/ 0 h 5143134"/>
              <a:gd name="connsiteX10" fmla="*/ 3271996 w 5865811"/>
              <a:gd name="connsiteY10" fmla="*/ 0 h 5143134"/>
              <a:gd name="connsiteX11" fmla="*/ 3821210 w 5865811"/>
              <a:gd name="connsiteY11" fmla="*/ 0 h 5143134"/>
              <a:gd name="connsiteX12" fmla="*/ 3823947 w 5865811"/>
              <a:gd name="connsiteY12" fmla="*/ 0 h 5143134"/>
              <a:gd name="connsiteX13" fmla="*/ 4240499 w 5865811"/>
              <a:gd name="connsiteY13" fmla="*/ 0 h 5143134"/>
              <a:gd name="connsiteX14" fmla="*/ 4243236 w 5865811"/>
              <a:gd name="connsiteY14" fmla="*/ 0 h 5143134"/>
              <a:gd name="connsiteX15" fmla="*/ 4462461 w 5865811"/>
              <a:gd name="connsiteY15" fmla="*/ 0 h 5143134"/>
              <a:gd name="connsiteX16" fmla="*/ 4672609 w 5865811"/>
              <a:gd name="connsiteY16" fmla="*/ 0 h 5143134"/>
              <a:gd name="connsiteX17" fmla="*/ 5224560 w 5865811"/>
              <a:gd name="connsiteY17" fmla="*/ 0 h 5143134"/>
              <a:gd name="connsiteX18" fmla="*/ 5643848 w 5865811"/>
              <a:gd name="connsiteY18" fmla="*/ 0 h 5143134"/>
              <a:gd name="connsiteX19" fmla="*/ 5865811 w 5865811"/>
              <a:gd name="connsiteY19" fmla="*/ 0 h 5143134"/>
              <a:gd name="connsiteX20" fmla="*/ 5865811 w 5865811"/>
              <a:gd name="connsiteY20" fmla="*/ 5143134 h 5143134"/>
              <a:gd name="connsiteX21" fmla="*/ 4462461 w 5865811"/>
              <a:gd name="connsiteY21" fmla="*/ 5143134 h 5143134"/>
              <a:gd name="connsiteX22" fmla="*/ 1403350 w 5865811"/>
              <a:gd name="connsiteY22" fmla="*/ 5143134 h 5143134"/>
              <a:gd name="connsiteX23" fmla="*/ 0 w 5865811"/>
              <a:gd name="connsiteY2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865811" h="5143134">
                <a:moveTo>
                  <a:pt x="5087051" y="261815"/>
                </a:moveTo>
                <a:lnTo>
                  <a:pt x="5087051" y="482649"/>
                </a:lnTo>
                <a:lnTo>
                  <a:pt x="5406547" y="482649"/>
                </a:lnTo>
                <a:lnTo>
                  <a:pt x="5406547" y="261815"/>
                </a:lnTo>
                <a:close/>
                <a:moveTo>
                  <a:pt x="631280" y="0"/>
                </a:moveTo>
                <a:lnTo>
                  <a:pt x="1868646" y="0"/>
                </a:lnTo>
                <a:lnTo>
                  <a:pt x="2034630" y="0"/>
                </a:lnTo>
                <a:lnTo>
                  <a:pt x="2420597" y="0"/>
                </a:lnTo>
                <a:lnTo>
                  <a:pt x="2839886" y="0"/>
                </a:lnTo>
                <a:lnTo>
                  <a:pt x="3269259" y="0"/>
                </a:lnTo>
                <a:lnTo>
                  <a:pt x="3271996" y="0"/>
                </a:lnTo>
                <a:lnTo>
                  <a:pt x="3821210" y="0"/>
                </a:lnTo>
                <a:lnTo>
                  <a:pt x="3823947" y="0"/>
                </a:lnTo>
                <a:lnTo>
                  <a:pt x="4240499" y="0"/>
                </a:lnTo>
                <a:lnTo>
                  <a:pt x="4243236" y="0"/>
                </a:lnTo>
                <a:lnTo>
                  <a:pt x="4462461" y="0"/>
                </a:lnTo>
                <a:lnTo>
                  <a:pt x="4672609" y="0"/>
                </a:lnTo>
                <a:lnTo>
                  <a:pt x="5224560" y="0"/>
                </a:lnTo>
                <a:lnTo>
                  <a:pt x="5643848" y="0"/>
                </a:lnTo>
                <a:lnTo>
                  <a:pt x="5865811" y="0"/>
                </a:lnTo>
                <a:lnTo>
                  <a:pt x="5865811" y="5143134"/>
                </a:lnTo>
                <a:lnTo>
                  <a:pt x="4462461" y="5143134"/>
                </a:lnTo>
                <a:lnTo>
                  <a:pt x="140335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836000" anchor="b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2588450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9D52384C-FA8A-482C-BDFA-C203B65DE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6"/>
            <a:ext cx="2588450" cy="468312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31" name="Datumsplatzhalter 30">
            <a:extLst>
              <a:ext uri="{FF2B5EF4-FFF2-40B4-BE49-F238E27FC236}">
                <a16:creationId xmlns:a16="http://schemas.microsoft.com/office/drawing/2014/main" id="{5EC9ACAA-6CC0-4FEE-A7A9-BE927FCC89A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5E665EC-7480-4F81-AD5C-A977E51E8089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AA13D55B-6756-4F8E-82EB-2F5663547F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>
          <a:xfrm>
            <a:off x="470661" y="269743"/>
            <a:ext cx="2588450" cy="138607"/>
          </a:xfrm>
        </p:spPr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89902DF8-33AE-410C-AFE6-5B4DC6F58D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35699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x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02F4512C-3279-40BF-BA31-A7EF737B8A4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81538" y="2571571"/>
            <a:ext cx="4462462" cy="2571565"/>
          </a:xfrm>
          <a:custGeom>
            <a:avLst/>
            <a:gdLst>
              <a:gd name="connsiteX0" fmla="*/ 315640 w 4462462"/>
              <a:gd name="connsiteY0" fmla="*/ 0 h 2571565"/>
              <a:gd name="connsiteX1" fmla="*/ 4462462 w 4462462"/>
              <a:gd name="connsiteY1" fmla="*/ 0 h 2571565"/>
              <a:gd name="connsiteX2" fmla="*/ 4462462 w 4462462"/>
              <a:gd name="connsiteY2" fmla="*/ 2571565 h 2571565"/>
              <a:gd name="connsiteX3" fmla="*/ 0 w 4462462"/>
              <a:gd name="connsiteY3" fmla="*/ 2571565 h 2571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2462" h="2571565">
                <a:moveTo>
                  <a:pt x="315640" y="0"/>
                </a:moveTo>
                <a:lnTo>
                  <a:pt x="4462462" y="0"/>
                </a:lnTo>
                <a:lnTo>
                  <a:pt x="4462462" y="2571565"/>
                </a:lnTo>
                <a:lnTo>
                  <a:pt x="0" y="257156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bIns="540000" anchor="b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3993388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9949" y="4886077"/>
            <a:ext cx="3995741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110164B-ECAC-4831-9304-09594C1A2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6"/>
            <a:ext cx="3993391" cy="468312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BC62A261-7EB2-40A0-8336-7B4F722A390A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E22F6DA5-42BD-4830-9245-A9F7B31EEC76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BD1D05BD-4D7C-4AD1-9447-525DD579B40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6A968A10-1530-4E5F-9733-7A5AFF1E8D5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48AE8E26-00B6-4DB9-817D-7BCA4ED95D9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97223" y="371"/>
            <a:ext cx="4146777" cy="2571200"/>
          </a:xfrm>
          <a:custGeom>
            <a:avLst/>
            <a:gdLst>
              <a:gd name="connsiteX0" fmla="*/ 3367748 w 4146777"/>
              <a:gd name="connsiteY0" fmla="*/ 261444 h 2571200"/>
              <a:gd name="connsiteX1" fmla="*/ 3367748 w 4146777"/>
              <a:gd name="connsiteY1" fmla="*/ 482278 h 2571200"/>
              <a:gd name="connsiteX2" fmla="*/ 3687354 w 4146777"/>
              <a:gd name="connsiteY2" fmla="*/ 482278 h 2571200"/>
              <a:gd name="connsiteX3" fmla="*/ 3687354 w 4146777"/>
              <a:gd name="connsiteY3" fmla="*/ 261444 h 2571200"/>
              <a:gd name="connsiteX4" fmla="*/ 315595 w 4146777"/>
              <a:gd name="connsiteY4" fmla="*/ 0 h 2571200"/>
              <a:gd name="connsiteX5" fmla="*/ 1552066 w 4146777"/>
              <a:gd name="connsiteY5" fmla="*/ 0 h 2571200"/>
              <a:gd name="connsiteX6" fmla="*/ 2104208 w 4146777"/>
              <a:gd name="connsiteY6" fmla="*/ 0 h 2571200"/>
              <a:gd name="connsiteX7" fmla="*/ 2523642 w 4146777"/>
              <a:gd name="connsiteY7" fmla="*/ 0 h 2571200"/>
              <a:gd name="connsiteX8" fmla="*/ 2953163 w 4146777"/>
              <a:gd name="connsiteY8" fmla="*/ 0 h 2571200"/>
              <a:gd name="connsiteX9" fmla="*/ 3505305 w 4146777"/>
              <a:gd name="connsiteY9" fmla="*/ 0 h 2571200"/>
              <a:gd name="connsiteX10" fmla="*/ 3924739 w 4146777"/>
              <a:gd name="connsiteY10" fmla="*/ 0 h 2571200"/>
              <a:gd name="connsiteX11" fmla="*/ 4146777 w 4146777"/>
              <a:gd name="connsiteY11" fmla="*/ 0 h 2571200"/>
              <a:gd name="connsiteX12" fmla="*/ 4146777 w 4146777"/>
              <a:gd name="connsiteY12" fmla="*/ 2571200 h 2571200"/>
              <a:gd name="connsiteX13" fmla="*/ 0 w 4146777"/>
              <a:gd name="connsiteY13" fmla="*/ 2571200 h 257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46777" h="2571200">
                <a:moveTo>
                  <a:pt x="3367748" y="261444"/>
                </a:moveTo>
                <a:lnTo>
                  <a:pt x="3367748" y="482278"/>
                </a:lnTo>
                <a:lnTo>
                  <a:pt x="3687354" y="482278"/>
                </a:lnTo>
                <a:lnTo>
                  <a:pt x="3687354" y="261444"/>
                </a:lnTo>
                <a:close/>
                <a:moveTo>
                  <a:pt x="315595" y="0"/>
                </a:moveTo>
                <a:lnTo>
                  <a:pt x="1552066" y="0"/>
                </a:lnTo>
                <a:lnTo>
                  <a:pt x="2104208" y="0"/>
                </a:lnTo>
                <a:lnTo>
                  <a:pt x="2523642" y="0"/>
                </a:lnTo>
                <a:lnTo>
                  <a:pt x="2953163" y="0"/>
                </a:lnTo>
                <a:lnTo>
                  <a:pt x="3505305" y="0"/>
                </a:lnTo>
                <a:lnTo>
                  <a:pt x="3924739" y="0"/>
                </a:lnTo>
                <a:lnTo>
                  <a:pt x="4146777" y="0"/>
                </a:lnTo>
                <a:lnTo>
                  <a:pt x="4146777" y="2571200"/>
                </a:lnTo>
                <a:lnTo>
                  <a:pt x="0" y="25712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540000" anchor="b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</a:t>
            </a:r>
          </a:p>
        </p:txBody>
      </p:sp>
    </p:spTree>
    <p:extLst>
      <p:ext uri="{BB962C8B-B14F-4D97-AF65-F5344CB8AC3E}">
        <p14:creationId xmlns:p14="http://schemas.microsoft.com/office/powerpoint/2010/main" val="360369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und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3363839"/>
            <a:ext cx="39933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79950" y="3363839"/>
            <a:ext cx="3995741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0662" y="1239839"/>
            <a:ext cx="3993388" cy="1655762"/>
          </a:xfrm>
          <a:solidFill>
            <a:schemeClr val="bg1">
              <a:lumMod val="85000"/>
            </a:schemeClr>
          </a:solidFill>
        </p:spPr>
        <p:txBody>
          <a:bodyPr tIns="0" bIns="216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79950" y="1239839"/>
            <a:ext cx="3995741" cy="1655762"/>
          </a:xfrm>
          <a:solidFill>
            <a:schemeClr val="bg1">
              <a:lumMod val="75000"/>
            </a:schemeClr>
          </a:solidFill>
        </p:spPr>
        <p:txBody>
          <a:bodyPr bIns="216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0662" y="3115526"/>
            <a:ext cx="39933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  <a:p>
            <a:pPr lvl="1"/>
            <a:endParaRPr lang="de-DE" noProof="1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9950" y="3115526"/>
            <a:ext cx="3995741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1D8365-226C-4B96-801C-F25AA85EE8DE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99D3AB3C-4943-4457-AD42-11883AA99B0F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38377-DBC3-4706-83A2-3AF9BE8D10C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2CFCBD-E1B2-4C52-9AA8-37FB027F0C6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20353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 und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1" y="3363839"/>
            <a:ext cx="2588455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8981" y="3363839"/>
            <a:ext cx="2588452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84888" y="3363839"/>
            <a:ext cx="2590803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0661" y="1239839"/>
            <a:ext cx="2588451" cy="1655762"/>
          </a:xfrm>
          <a:solidFill>
            <a:schemeClr val="bg1">
              <a:lumMod val="85000"/>
            </a:schemeClr>
          </a:solidFill>
        </p:spPr>
        <p:txBody>
          <a:bodyPr bIns="216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 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78981" y="1239839"/>
            <a:ext cx="2588452" cy="1655762"/>
          </a:xfrm>
          <a:solidFill>
            <a:schemeClr val="bg1">
              <a:lumMod val="75000"/>
            </a:schemeClr>
          </a:solidFill>
        </p:spPr>
        <p:txBody>
          <a:bodyPr bIns="216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</a:t>
            </a:r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84888" y="1239839"/>
            <a:ext cx="2590803" cy="1655762"/>
          </a:xfrm>
          <a:solidFill>
            <a:schemeClr val="bg1">
              <a:lumMod val="65000"/>
            </a:schemeClr>
          </a:solidFill>
        </p:spPr>
        <p:txBody>
          <a:bodyPr bIns="216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auf das Symbol ein. </a:t>
            </a:r>
            <a:br>
              <a:rPr lang="de-DE" noProof="1"/>
            </a:br>
            <a:r>
              <a:rPr lang="de-DE" noProof="1"/>
              <a:t>Alternativ kopieren Sie ein Bild in die Zwischenablage, </a:t>
            </a:r>
            <a:br>
              <a:rPr lang="de-DE" noProof="1"/>
            </a:br>
            <a:r>
              <a:rPr lang="de-DE" noProof="1"/>
              <a:t>wählen Sie den Platzhalter an und klicken Sie einfügen.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0661" y="3115526"/>
            <a:ext cx="2588451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  <a:p>
            <a:pPr lvl="1"/>
            <a:endParaRPr lang="de-DE" noProof="1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78981" y="3115526"/>
            <a:ext cx="2588452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888" y="3115526"/>
            <a:ext cx="2590803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1D8365-226C-4B96-801C-F25AA85EE8DE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86D64990-26F2-48DD-8237-ED7E2528D7B0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38377-DBC3-4706-83A2-3AF9BE8D10C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2CFCBD-E1B2-4C52-9AA8-37FB027F0C6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287342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Text und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3363839"/>
            <a:ext cx="1889257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75920" y="3363839"/>
            <a:ext cx="1889257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1177" y="3363839"/>
            <a:ext cx="1889257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0663" y="1239839"/>
            <a:ext cx="1889257" cy="1655762"/>
          </a:xfrm>
          <a:solidFill>
            <a:schemeClr val="bg1">
              <a:lumMod val="8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575920" y="1239839"/>
            <a:ext cx="1889257" cy="1655762"/>
          </a:xfrm>
          <a:solidFill>
            <a:schemeClr val="bg1">
              <a:lumMod val="7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81177" y="1239839"/>
            <a:ext cx="1889257" cy="1655762"/>
          </a:xfrm>
          <a:solidFill>
            <a:schemeClr val="bg1">
              <a:lumMod val="6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0662" y="3115526"/>
            <a:ext cx="1889257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75920" y="3115526"/>
            <a:ext cx="1889257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81177" y="3115526"/>
            <a:ext cx="1889257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1D8365-226C-4B96-801C-F25AA85EE8DE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F9821C2C-AE16-4CDD-828A-618361DDB6E5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38377-DBC3-4706-83A2-3AF9BE8D10C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2CFCBD-E1B2-4C52-9AA8-37FB027F0C6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150765C0-D78F-4B4D-9F5D-6C122C22EA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86434" y="3363839"/>
            <a:ext cx="1889257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34" name="Bildplatzhalter 16">
            <a:extLst>
              <a:ext uri="{FF2B5EF4-FFF2-40B4-BE49-F238E27FC236}">
                <a16:creationId xmlns:a16="http://schemas.microsoft.com/office/drawing/2014/main" id="{19B3D4AB-25EB-46EB-992C-583CE01E8CC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6786434" y="1239839"/>
            <a:ext cx="1889257" cy="1655762"/>
          </a:xfrm>
          <a:solidFill>
            <a:schemeClr val="bg1">
              <a:lumMod val="50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FA6DBEC3-42DC-4C43-B6AD-AC41763FBE6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786434" y="3115526"/>
            <a:ext cx="1889257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</p:spTree>
    <p:extLst>
      <p:ext uri="{BB962C8B-B14F-4D97-AF65-F5344CB8AC3E}">
        <p14:creationId xmlns:p14="http://schemas.microsoft.com/office/powerpoint/2010/main" val="428508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Text und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3363839"/>
            <a:ext cx="14646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155159" y="3363839"/>
            <a:ext cx="14646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39656" y="3363839"/>
            <a:ext cx="14646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0663" y="1239839"/>
            <a:ext cx="1464688" cy="1655762"/>
          </a:xfrm>
          <a:solidFill>
            <a:schemeClr val="bg1">
              <a:lumMod val="8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155159" y="1239839"/>
            <a:ext cx="1464688" cy="1655762"/>
          </a:xfrm>
          <a:solidFill>
            <a:schemeClr val="bg1">
              <a:lumMod val="7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839656" y="1239839"/>
            <a:ext cx="1464688" cy="1655762"/>
          </a:xfrm>
          <a:solidFill>
            <a:schemeClr val="bg1">
              <a:lumMod val="6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0662" y="3115526"/>
            <a:ext cx="14646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55159" y="3115526"/>
            <a:ext cx="14646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839656" y="3115526"/>
            <a:ext cx="14646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1D8365-226C-4B96-801C-F25AA85EE8DE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F232C89C-4FCA-47DF-90DA-46C73FF09C2F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38377-DBC3-4706-83A2-3AF9BE8D10C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2CFCBD-E1B2-4C52-9AA8-37FB027F0C6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150765C0-D78F-4B4D-9F5D-6C122C22EA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524153" y="3363839"/>
            <a:ext cx="14646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34" name="Bildplatzhalter 16">
            <a:extLst>
              <a:ext uri="{FF2B5EF4-FFF2-40B4-BE49-F238E27FC236}">
                <a16:creationId xmlns:a16="http://schemas.microsoft.com/office/drawing/2014/main" id="{19B3D4AB-25EB-46EB-992C-583CE01E8CC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24153" y="1239839"/>
            <a:ext cx="1464688" cy="1655762"/>
          </a:xfrm>
          <a:solidFill>
            <a:schemeClr val="bg1">
              <a:lumMod val="50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FA6DBEC3-42DC-4C43-B6AD-AC41763FBE6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524153" y="3115526"/>
            <a:ext cx="14646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96A85455-5B15-4E12-A945-F1732B962DE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208650" y="3363839"/>
            <a:ext cx="1464688" cy="1403424"/>
          </a:xfrm>
        </p:spPr>
        <p:txBody>
          <a:bodyPr rIns="72000"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37" name="Bildplatzhalter 16">
            <a:extLst>
              <a:ext uri="{FF2B5EF4-FFF2-40B4-BE49-F238E27FC236}">
                <a16:creationId xmlns:a16="http://schemas.microsoft.com/office/drawing/2014/main" id="{1B690431-1D80-4C13-A855-2A832B70764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7208650" y="1239839"/>
            <a:ext cx="1467041" cy="1655762"/>
          </a:xfrm>
          <a:solidFill>
            <a:schemeClr val="tx1">
              <a:lumMod val="65000"/>
              <a:lumOff val="3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38" name="Textplatzhalter 20">
            <a:extLst>
              <a:ext uri="{FF2B5EF4-FFF2-40B4-BE49-F238E27FC236}">
                <a16:creationId xmlns:a16="http://schemas.microsoft.com/office/drawing/2014/main" id="{73199EC0-BD27-4D15-A42C-108C9BDCF5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7208650" y="3115526"/>
            <a:ext cx="1464688" cy="207206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000" b="1" cap="none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1"/>
              <a:t>Bildüberschrift</a:t>
            </a:r>
          </a:p>
        </p:txBody>
      </p:sp>
    </p:spTree>
    <p:extLst>
      <p:ext uri="{BB962C8B-B14F-4D97-AF65-F5344CB8AC3E}">
        <p14:creationId xmlns:p14="http://schemas.microsoft.com/office/powerpoint/2010/main" val="332663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weiß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black">
          <a:xfrm>
            <a:off x="470660" y="2136404"/>
            <a:ext cx="8205027" cy="971922"/>
          </a:xfrm>
        </p:spPr>
        <p:txBody>
          <a:bodyPr/>
          <a:lstStyle>
            <a:lvl1pPr>
              <a:defRPr sz="3600" cap="none" baseline="0">
                <a:solidFill>
                  <a:schemeClr val="tx2"/>
                </a:solidFill>
              </a:defRPr>
            </a:lvl1pPr>
            <a:lvl2pPr algn="l">
              <a:defRPr sz="3600">
                <a:solidFill>
                  <a:schemeClr val="tx2"/>
                </a:solidFill>
              </a:defRPr>
            </a:lvl2pPr>
            <a:lvl3pPr algn="l">
              <a:defRPr sz="3600">
                <a:solidFill>
                  <a:schemeClr val="tx2"/>
                </a:solidFill>
              </a:defRPr>
            </a:lvl3pPr>
            <a:lvl4pPr>
              <a:defRPr sz="3600">
                <a:solidFill>
                  <a:schemeClr val="tx2"/>
                </a:solidFill>
                <a:latin typeface="+mj-lt"/>
              </a:defRPr>
            </a:lvl4pPr>
            <a:lvl5pPr algn="l">
              <a:defRPr sz="3600">
                <a:solidFill>
                  <a:schemeClr val="tx2"/>
                </a:solidFill>
              </a:defRPr>
            </a:lvl5pPr>
            <a:lvl6pPr algn="l">
              <a:defRPr sz="3600">
                <a:solidFill>
                  <a:schemeClr val="tx2"/>
                </a:solidFill>
              </a:defRPr>
            </a:lvl6pPr>
            <a:lvl7pPr algn="l">
              <a:defRPr sz="3600">
                <a:solidFill>
                  <a:schemeClr val="tx2"/>
                </a:solidFill>
              </a:defRPr>
            </a:lvl7pPr>
            <a:lvl8pPr algn="l">
              <a:defRPr sz="3600">
                <a:solidFill>
                  <a:schemeClr val="tx2"/>
                </a:solidFill>
              </a:defRPr>
            </a:lvl8pPr>
            <a:lvl9pPr algn="l">
              <a:defRPr sz="3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noProof="1"/>
              <a:t>Dies ist eine Titelfolie</a:t>
            </a:r>
            <a:br>
              <a:rPr lang="de-DE" noProof="1"/>
            </a:br>
            <a:r>
              <a:rPr lang="de-DE" noProof="1"/>
              <a:t>die zweizeilig funktioniert</a:t>
            </a:r>
          </a:p>
        </p:txBody>
      </p:sp>
      <p:sp>
        <p:nvSpPr>
          <p:cNvPr id="33" name="Textplatzhalter 15"/>
          <p:cNvSpPr>
            <a:spLocks noGrp="1"/>
          </p:cNvSpPr>
          <p:nvPr userDrawn="1">
            <p:ph type="body" sz="quarter" idx="15" hasCustomPrompt="1"/>
          </p:nvPr>
        </p:nvSpPr>
        <p:spPr bwMode="black">
          <a:xfrm>
            <a:off x="470660" y="3679693"/>
            <a:ext cx="2588453" cy="36004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0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None/>
              <a:defRPr sz="10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noProof="1"/>
              <a:t>Das ist der Untertitel der Präsent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122457-46F3-40D2-B643-486B6939B978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>
          <a:xfrm>
            <a:off x="791580" y="5189240"/>
            <a:ext cx="477447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D2EEB7ED-6273-4765-A187-98CA88D5EB9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7BFC4A9-33DE-4AE5-8A9C-C0D93DFA1F6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>
          <a:xfrm>
            <a:off x="470660" y="-213767"/>
            <a:ext cx="5396739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3F802F1-5CC6-4589-9994-B6C7C455FE3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>
          <a:xfrm>
            <a:off x="470661" y="5189239"/>
            <a:ext cx="284915" cy="13860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CDCA322A-6466-61BD-E16C-64321769BAC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87524" y="1059582"/>
            <a:ext cx="2600325" cy="7239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tte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258690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5" userDrawn="1">
          <p15:clr>
            <a:srgbClr val="5ACBF0"/>
          </p15:clr>
        </p15:guide>
        <p15:guide id="2" orient="horz" pos="1008" userDrawn="1">
          <p15:clr>
            <a:srgbClr val="5ACBF0"/>
          </p15:clr>
        </p15:guide>
        <p15:guide id="3" orient="horz" pos="782" userDrawn="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folie mit Bil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250E386-708C-4E69-9963-263CA40ECFB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9144000" cy="4234589"/>
          </a:xfrm>
          <a:custGeom>
            <a:avLst/>
            <a:gdLst>
              <a:gd name="connsiteX0" fmla="*/ 8364971 w 9144000"/>
              <a:gd name="connsiteY0" fmla="*/ 261815 h 4234589"/>
              <a:gd name="connsiteX1" fmla="*/ 8364971 w 9144000"/>
              <a:gd name="connsiteY1" fmla="*/ 482649 h 4234589"/>
              <a:gd name="connsiteX2" fmla="*/ 8684577 w 9144000"/>
              <a:gd name="connsiteY2" fmla="*/ 482649 h 4234589"/>
              <a:gd name="connsiteX3" fmla="*/ 8684577 w 9144000"/>
              <a:gd name="connsiteY3" fmla="*/ 261815 h 4234589"/>
              <a:gd name="connsiteX4" fmla="*/ 0 w 9144000"/>
              <a:gd name="connsiteY4" fmla="*/ 0 h 4234589"/>
              <a:gd name="connsiteX5" fmla="*/ 9144000 w 9144000"/>
              <a:gd name="connsiteY5" fmla="*/ 0 h 4234589"/>
              <a:gd name="connsiteX6" fmla="*/ 9144000 w 9144000"/>
              <a:gd name="connsiteY6" fmla="*/ 3111847 h 4234589"/>
              <a:gd name="connsiteX7" fmla="*/ 0 w 9144000"/>
              <a:gd name="connsiteY7" fmla="*/ 4234589 h 423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234589">
                <a:moveTo>
                  <a:pt x="8364971" y="261815"/>
                </a:moveTo>
                <a:lnTo>
                  <a:pt x="8364971" y="482649"/>
                </a:lnTo>
                <a:lnTo>
                  <a:pt x="8684577" y="482649"/>
                </a:lnTo>
                <a:lnTo>
                  <a:pt x="8684577" y="26181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111847"/>
                </a:lnTo>
                <a:lnTo>
                  <a:pt x="0" y="423458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540000" anchor="t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Kopieren Sie ein Bild in die Zwischenablage, 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 Dunkeln Sie Bilder bei Bedarf über Bildformat &gt; Korrekturen ab. </a:t>
            </a:r>
            <a:br>
              <a:rPr lang="de-DE" noProof="1"/>
            </a:br>
            <a:r>
              <a:rPr lang="de-DE" noProof="1"/>
              <a:t>Achten Sie darauf, dass das Logo im Vordergrund ist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B24A8F-983E-4D09-AB3F-3A742DE09FB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5C40F17-1B72-4B54-9A01-502D4F90219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8C09-4DC5-4C55-8EA5-35B9311F3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FADC85-0DD0-4E90-8661-1EECB965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4EEF3E90-9497-4B5D-B80E-177942F6C9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04214-A2E7-4472-A1BE-B1E12B444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70660" y="1239838"/>
            <a:ext cx="5396739" cy="1871662"/>
          </a:xfrm>
        </p:spPr>
        <p:txBody>
          <a:bodyPr anchor="b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200" b="1" cap="none" baseline="0">
                <a:solidFill>
                  <a:schemeClr val="bg1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Hier steht die Überschrift der Folie, nach Bedarf in zwei oder drei Zeilen.</a:t>
            </a:r>
          </a:p>
        </p:txBody>
      </p:sp>
    </p:spTree>
    <p:extLst>
      <p:ext uri="{BB962C8B-B14F-4D97-AF65-F5344CB8AC3E}">
        <p14:creationId xmlns:p14="http://schemas.microsoft.com/office/powerpoint/2010/main" val="42153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folie (weiß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E90216AB-E92E-49F3-9345-B204DE418924}"/>
              </a:ext>
            </a:extLst>
          </p:cNvPr>
          <p:cNvSpPr/>
          <p:nvPr userDrawn="1"/>
        </p:nvSpPr>
        <p:spPr bwMode="grayWhite">
          <a:xfrm rot="10800000">
            <a:off x="0" y="3116610"/>
            <a:ext cx="9144000" cy="2031652"/>
          </a:xfrm>
          <a:custGeom>
            <a:avLst/>
            <a:gdLst>
              <a:gd name="connsiteX0" fmla="*/ 0 w 9144000"/>
              <a:gd name="connsiteY0" fmla="*/ 2031651 h 2031651"/>
              <a:gd name="connsiteX1" fmla="*/ 0 w 9144000"/>
              <a:gd name="connsiteY1" fmla="*/ 291034 h 2031651"/>
              <a:gd name="connsiteX2" fmla="*/ 0 w 9144000"/>
              <a:gd name="connsiteY2" fmla="*/ 0 h 2031651"/>
              <a:gd name="connsiteX3" fmla="*/ 9144000 w 9144000"/>
              <a:gd name="connsiteY3" fmla="*/ 0 h 2031651"/>
              <a:gd name="connsiteX4" fmla="*/ 9144000 w 9144000"/>
              <a:gd name="connsiteY4" fmla="*/ 291034 h 2031651"/>
              <a:gd name="connsiteX5" fmla="*/ 9144000 w 9144000"/>
              <a:gd name="connsiteY5" fmla="*/ 908909 h 203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2031651">
                <a:moveTo>
                  <a:pt x="0" y="2031651"/>
                </a:moveTo>
                <a:lnTo>
                  <a:pt x="0" y="291034"/>
                </a:lnTo>
                <a:lnTo>
                  <a:pt x="0" y="0"/>
                </a:lnTo>
                <a:lnTo>
                  <a:pt x="9144000" y="0"/>
                </a:lnTo>
                <a:lnTo>
                  <a:pt x="9144000" y="291034"/>
                </a:lnTo>
                <a:lnTo>
                  <a:pt x="9144000" y="908909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144000" indent="-144000" algn="l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de-DE" sz="1100" noProof="1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A26CABF1-C199-4F19-943A-843516C14828}"/>
              </a:ext>
            </a:extLst>
          </p:cNvPr>
          <p:cNvSpPr/>
          <p:nvPr userDrawn="1"/>
        </p:nvSpPr>
        <p:spPr bwMode="grayWhite">
          <a:xfrm rot="10800000">
            <a:off x="0" y="3111847"/>
            <a:ext cx="9144000" cy="2031652"/>
          </a:xfrm>
          <a:custGeom>
            <a:avLst/>
            <a:gdLst>
              <a:gd name="connsiteX0" fmla="*/ 0 w 9144000"/>
              <a:gd name="connsiteY0" fmla="*/ 2031651 h 2031651"/>
              <a:gd name="connsiteX1" fmla="*/ 0 w 9144000"/>
              <a:gd name="connsiteY1" fmla="*/ 291034 h 2031651"/>
              <a:gd name="connsiteX2" fmla="*/ 0 w 9144000"/>
              <a:gd name="connsiteY2" fmla="*/ 0 h 2031651"/>
              <a:gd name="connsiteX3" fmla="*/ 9144000 w 9144000"/>
              <a:gd name="connsiteY3" fmla="*/ 0 h 2031651"/>
              <a:gd name="connsiteX4" fmla="*/ 9144000 w 9144000"/>
              <a:gd name="connsiteY4" fmla="*/ 291034 h 2031651"/>
              <a:gd name="connsiteX5" fmla="*/ 9144000 w 9144000"/>
              <a:gd name="connsiteY5" fmla="*/ 908909 h 203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2031651">
                <a:moveTo>
                  <a:pt x="0" y="2031651"/>
                </a:moveTo>
                <a:lnTo>
                  <a:pt x="0" y="291034"/>
                </a:lnTo>
                <a:lnTo>
                  <a:pt x="0" y="0"/>
                </a:lnTo>
                <a:lnTo>
                  <a:pt x="9144000" y="0"/>
                </a:lnTo>
                <a:lnTo>
                  <a:pt x="9144000" y="291034"/>
                </a:lnTo>
                <a:lnTo>
                  <a:pt x="9144000" y="908909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144000" indent="-144000" algn="l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de-DE" sz="1100" noProof="1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4EEF3E90-9497-4B5D-B80E-177942F6C9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0288796-1A65-4A52-A417-A421E577E3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70660" y="1239838"/>
            <a:ext cx="5396739" cy="1871662"/>
          </a:xfrm>
        </p:spPr>
        <p:txBody>
          <a:bodyPr anchor="b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200" b="1" cap="none" baseline="0">
                <a:solidFill>
                  <a:schemeClr val="bg1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Hier steht die Überschrift der Folie, nach Bedarf in zwei oder drei Zeilen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B864710-8529-412E-BB2C-1B151917337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66C99DA-73E4-4C08-914B-37AC696569B0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04A7D50-B2F1-49B4-99AE-33CBBBECAF3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8A72BFC-E329-47CB-9C7C-7EDB362F3CF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0"/>
            <a:fld id="{E37CB091-918D-45F7-A5C8-9E20A6ED19B7}" type="slidenum">
              <a:rPr lang="de-DE" noProof="1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17436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0185C9-8355-4E93-880B-4BB6B7F14C64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ECF5B947-21D1-4556-A886-98B12C6D44F5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D87177F-8600-4F24-9604-B2817907F4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C2370141-4D7C-409C-A1A4-DC813369F1F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250646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7CEAF2BD-7474-46E7-AD62-B5FBF901B0AB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0C7E2123-B928-4DCA-AD9C-05E0E88BA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White">
          <a:xfrm>
            <a:off x="3276601" y="4886077"/>
            <a:ext cx="5399089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grpSp>
        <p:nvGrpSpPr>
          <p:cNvPr id="47" name="Group 5">
            <a:extLst>
              <a:ext uri="{FF2B5EF4-FFF2-40B4-BE49-F238E27FC236}">
                <a16:creationId xmlns:a16="http://schemas.microsoft.com/office/drawing/2014/main" id="{B78E8B24-D71D-4CF5-BC1D-0D352CF17FF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48" name="Rectangle 6">
              <a:extLst>
                <a:ext uri="{FF2B5EF4-FFF2-40B4-BE49-F238E27FC236}">
                  <a16:creationId xmlns:a16="http://schemas.microsoft.com/office/drawing/2014/main" id="{0BE9EFD5-5419-4394-B113-C567D6FAF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4BB744F8-62B4-41B1-9CED-1E8259FB6D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62FD542C-02D4-4A53-AFA0-E232FF3A2C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D1062F6-3C61-461A-A8A3-5BC7DEED9D9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4C49775C-A18A-4498-BE37-6F25FE97852D}"/>
              </a:ext>
            </a:extLst>
          </p:cNvPr>
          <p:cNvSpPr/>
          <p:nvPr userDrawn="1"/>
        </p:nvSpPr>
        <p:spPr bwMode="blackGray">
          <a:xfrm>
            <a:off x="-1" y="0"/>
            <a:ext cx="3059113" cy="5143134"/>
          </a:xfrm>
          <a:custGeom>
            <a:avLst/>
            <a:gdLst>
              <a:gd name="connsiteX0" fmla="*/ 0 w 3054350"/>
              <a:gd name="connsiteY0" fmla="*/ 0 h 5143134"/>
              <a:gd name="connsiteX1" fmla="*/ 3054350 w 3054350"/>
              <a:gd name="connsiteY1" fmla="*/ 0 h 5143134"/>
              <a:gd name="connsiteX2" fmla="*/ 2423070 w 3054350"/>
              <a:gd name="connsiteY2" fmla="*/ 5143134 h 5143134"/>
              <a:gd name="connsiteX3" fmla="*/ 0 w 3054350"/>
              <a:gd name="connsiteY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4350" h="5143134">
                <a:moveTo>
                  <a:pt x="0" y="0"/>
                </a:moveTo>
                <a:lnTo>
                  <a:pt x="3054350" y="0"/>
                </a:lnTo>
                <a:lnTo>
                  <a:pt x="242307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DDA088BD-ACF0-452A-B7C7-531DED4BB99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4681538" y="1895054"/>
            <a:ext cx="3991799" cy="2872210"/>
          </a:xfrm>
        </p:spPr>
        <p:txBody>
          <a:bodyPr rIns="72000"/>
          <a:lstStyle>
            <a:lvl1pPr>
              <a:spcBef>
                <a:spcPts val="400"/>
              </a:spcBef>
              <a:spcAft>
                <a:spcPts val="40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000" b="0">
                <a:solidFill>
                  <a:schemeClr val="bg1"/>
                </a:solidFill>
              </a:defRPr>
            </a:lvl2pPr>
            <a:lvl3pPr marL="216000" indent="-216000"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sz="1000" b="0">
                <a:solidFill>
                  <a:schemeClr val="bg1"/>
                </a:solidFill>
              </a:defRPr>
            </a:lvl3pPr>
            <a:lvl4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4pPr>
            <a:lvl5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5pPr>
            <a:lvl6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6pPr>
            <a:lvl7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7pPr>
            <a:lvl8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8pPr>
            <a:lvl9pPr marL="216000" indent="-216000" algn="l" fontAlgn="auto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>
                <a:schemeClr val="bg2"/>
              </a:buClr>
              <a:buSzPct val="85000"/>
              <a:buFont typeface="Wingdings 2" panose="05020102010507070707" pitchFamily="18" charset="2"/>
              <a:buChar char=""/>
              <a:defRPr kumimoji="0" sz="1000" b="0" i="0" u="none" kern="1200" cap="none" spc="0" baseline="0">
                <a:solidFill>
                  <a:schemeClr val="bg1"/>
                </a:solidFill>
                <a:latin typeface="GenosGFG" panose="020B0504040000000004" pitchFamily="34" charset="0"/>
              </a:defRPr>
            </a:lvl9pPr>
          </a:lstStyle>
          <a:p>
            <a:pPr lvl="0"/>
            <a:r>
              <a:rPr lang="de-DE" noProof="1"/>
              <a:t>Positio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</p:txBody>
      </p:sp>
      <p:sp>
        <p:nvSpPr>
          <p:cNvPr id="28" name="Bildplatzhalter 16">
            <a:extLst>
              <a:ext uri="{FF2B5EF4-FFF2-40B4-BE49-F238E27FC236}">
                <a16:creationId xmlns:a16="http://schemas.microsoft.com/office/drawing/2014/main" id="{34B4671D-6B6A-4F2E-A50C-82DDC020FB6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70663" y="555625"/>
            <a:ext cx="3777491" cy="4211638"/>
          </a:xfrm>
          <a:solidFill>
            <a:schemeClr val="bg1">
              <a:lumMod val="85000"/>
            </a:schemeClr>
          </a:solidFill>
        </p:spPr>
        <p:txBody>
          <a:bodyPr bIns="1224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A42E6E40-CD24-4243-9D84-6313EED91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681538" y="1242217"/>
            <a:ext cx="3991799" cy="392544"/>
          </a:xfrm>
        </p:spPr>
        <p:txBody>
          <a:bodyPr lIns="0" t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1"/>
              <a:t>Vorname Name</a:t>
            </a:r>
          </a:p>
        </p:txBody>
      </p:sp>
      <p:sp>
        <p:nvSpPr>
          <p:cNvPr id="35" name="Fußzeilenplatzhalter 31">
            <a:extLst>
              <a:ext uri="{FF2B5EF4-FFF2-40B4-BE49-F238E27FC236}">
                <a16:creationId xmlns:a16="http://schemas.microsoft.com/office/drawing/2014/main" id="{08A8BBCB-3B08-4E46-98B0-B4A2E033C91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>
          <a:xfrm>
            <a:off x="470660" y="269743"/>
            <a:ext cx="3993391" cy="138607"/>
          </a:xfrm>
        </p:spPr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32" name="Foliennummernplatzhalter 32">
            <a:extLst>
              <a:ext uri="{FF2B5EF4-FFF2-40B4-BE49-F238E27FC236}">
                <a16:creationId xmlns:a16="http://schemas.microsoft.com/office/drawing/2014/main" id="{1BE193C3-5878-4C45-A13E-4D001DD2249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30648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2B2B1520-86D3-45A9-A63A-6B95E7A31F7A}"/>
              </a:ext>
            </a:extLst>
          </p:cNvPr>
          <p:cNvSpPr/>
          <p:nvPr userDrawn="1"/>
        </p:nvSpPr>
        <p:spPr bwMode="blackWhite">
          <a:xfrm>
            <a:off x="0" y="-1"/>
            <a:ext cx="9144000" cy="2363614"/>
          </a:xfrm>
          <a:custGeom>
            <a:avLst/>
            <a:gdLst>
              <a:gd name="connsiteX0" fmla="*/ 0 w 9144000"/>
              <a:gd name="connsiteY0" fmla="*/ 0 h 2363614"/>
              <a:gd name="connsiteX1" fmla="*/ 9144000 w 9144000"/>
              <a:gd name="connsiteY1" fmla="*/ 0 h 2363614"/>
              <a:gd name="connsiteX2" fmla="*/ 9144000 w 9144000"/>
              <a:gd name="connsiteY2" fmla="*/ 1240872 h 2363614"/>
              <a:gd name="connsiteX3" fmla="*/ 0 w 9144000"/>
              <a:gd name="connsiteY3" fmla="*/ 2363614 h 236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63614">
                <a:moveTo>
                  <a:pt x="0" y="0"/>
                </a:moveTo>
                <a:lnTo>
                  <a:pt x="9144000" y="0"/>
                </a:lnTo>
                <a:lnTo>
                  <a:pt x="9144000" y="1240872"/>
                </a:lnTo>
                <a:lnTo>
                  <a:pt x="0" y="236361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E866B4EA-3FF8-4898-9DC7-30D9AE87869F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2" name="Bildplatzhalter 16">
            <a:extLst>
              <a:ext uri="{FF2B5EF4-FFF2-40B4-BE49-F238E27FC236}">
                <a16:creationId xmlns:a16="http://schemas.microsoft.com/office/drawing/2014/main" id="{9EA90CA0-7134-463C-96E8-8F13CEF1420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0663" y="1023937"/>
            <a:ext cx="1889257" cy="1871663"/>
          </a:xfrm>
          <a:solidFill>
            <a:schemeClr val="bg1">
              <a:lumMod val="8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3" name="Bildplatzhalter 16">
            <a:extLst>
              <a:ext uri="{FF2B5EF4-FFF2-40B4-BE49-F238E27FC236}">
                <a16:creationId xmlns:a16="http://schemas.microsoft.com/office/drawing/2014/main" id="{B2BE5806-DDF5-4A29-9BF6-253C0A60021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2575920" y="1023937"/>
            <a:ext cx="1889257" cy="1871663"/>
          </a:xfrm>
          <a:solidFill>
            <a:schemeClr val="bg1">
              <a:lumMod val="7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4" name="Bildplatzhalter 16">
            <a:extLst>
              <a:ext uri="{FF2B5EF4-FFF2-40B4-BE49-F238E27FC236}">
                <a16:creationId xmlns:a16="http://schemas.microsoft.com/office/drawing/2014/main" id="{DDF12434-0495-4CFB-B02E-4E8EA2D0CDA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81177" y="1023937"/>
            <a:ext cx="1889257" cy="1871663"/>
          </a:xfrm>
          <a:solidFill>
            <a:schemeClr val="bg1">
              <a:lumMod val="65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16" name="Bildplatzhalter 16">
            <a:extLst>
              <a:ext uri="{FF2B5EF4-FFF2-40B4-BE49-F238E27FC236}">
                <a16:creationId xmlns:a16="http://schemas.microsoft.com/office/drawing/2014/main" id="{5AE102A8-4BA4-4BEB-B546-6ED9D5FCF89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6786434" y="1023937"/>
            <a:ext cx="1889257" cy="1871663"/>
          </a:xfrm>
          <a:solidFill>
            <a:schemeClr val="bg1">
              <a:lumMod val="50000"/>
            </a:schemeClr>
          </a:solidFill>
        </p:spPr>
        <p:txBody>
          <a:bodyPr bIns="72000" anchor="b"/>
          <a:lstStyle>
            <a:lvl1pPr algn="ctr">
              <a:spcBef>
                <a:spcPts val="100"/>
              </a:spcBef>
              <a:spcAft>
                <a:spcPts val="100"/>
              </a:spcAft>
              <a:defRPr sz="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 noProof="1"/>
              <a:t>Fügen Sie ein Bild über Klicken </a:t>
            </a:r>
            <a:br>
              <a:rPr lang="de-DE" noProof="1"/>
            </a:br>
            <a:r>
              <a:rPr lang="de-DE" noProof="1"/>
              <a:t>auf das Symbol ein. Alternativ kopieren </a:t>
            </a:r>
            <a:br>
              <a:rPr lang="de-DE" noProof="1"/>
            </a:br>
            <a:r>
              <a:rPr lang="de-DE" noProof="1"/>
              <a:t>Sie ein Bild in die Zwischenablage, </a:t>
            </a:r>
            <a:br>
              <a:rPr lang="de-DE" noProof="1"/>
            </a:br>
            <a:r>
              <a:rPr lang="de-DE" noProof="1"/>
              <a:t>wählen Sie den Platzhalter an und</a:t>
            </a:r>
            <a:br>
              <a:rPr lang="de-DE" noProof="1"/>
            </a:br>
            <a:r>
              <a:rPr lang="de-DE" noProof="1"/>
              <a:t> klicken Sie einfügen.</a:t>
            </a:r>
          </a:p>
        </p:txBody>
      </p:sp>
      <p:sp>
        <p:nvSpPr>
          <p:cNvPr id="35" name="Fußzeilenplatzhalter 31">
            <a:extLst>
              <a:ext uri="{FF2B5EF4-FFF2-40B4-BE49-F238E27FC236}">
                <a16:creationId xmlns:a16="http://schemas.microsoft.com/office/drawing/2014/main" id="{08A8BBCB-3B08-4E46-98B0-B4A2E033C91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>
          <a:xfrm>
            <a:off x="470660" y="269743"/>
            <a:ext cx="3993391" cy="138607"/>
          </a:xfrm>
        </p:spPr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36" name="Foliennummernplatzhalter 11">
            <a:extLst>
              <a:ext uri="{FF2B5EF4-FFF2-40B4-BE49-F238E27FC236}">
                <a16:creationId xmlns:a16="http://schemas.microsoft.com/office/drawing/2014/main" id="{5FC82185-D07A-4765-8EA2-12890D14B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White">
          <a:xfrm>
            <a:off x="470661" y="4886077"/>
            <a:ext cx="284915" cy="1386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grpSp>
        <p:nvGrpSpPr>
          <p:cNvPr id="47" name="Group 5">
            <a:extLst>
              <a:ext uri="{FF2B5EF4-FFF2-40B4-BE49-F238E27FC236}">
                <a16:creationId xmlns:a16="http://schemas.microsoft.com/office/drawing/2014/main" id="{B78E8B24-D71D-4CF5-BC1D-0D352CF17FF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48" name="Rectangle 6">
              <a:extLst>
                <a:ext uri="{FF2B5EF4-FFF2-40B4-BE49-F238E27FC236}">
                  <a16:creationId xmlns:a16="http://schemas.microsoft.com/office/drawing/2014/main" id="{0BE9EFD5-5419-4394-B113-C567D6FAF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4BB744F8-62B4-41B1-9CED-1E8259FB6D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62FD542C-02D4-4A53-AFA0-E232FF3A2C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D1062F6-3C61-461A-A8A3-5BC7DEED9D9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ABAE3FB-AB0C-44CB-9479-60029CD406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3766718"/>
            <a:ext cx="1889257" cy="1000546"/>
          </a:xfrm>
        </p:spPr>
        <p:txBody>
          <a:bodyPr rIns="72000"/>
          <a:lstStyle>
            <a:lvl1pPr>
              <a:spcBef>
                <a:spcPts val="300"/>
              </a:spcBef>
              <a:spcAft>
                <a:spcPts val="3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b="0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6pPr>
            <a:lvl7pPr>
              <a:spcBef>
                <a:spcPts val="300"/>
              </a:spcBef>
              <a:defRPr sz="1000" b="0">
                <a:solidFill>
                  <a:schemeClr val="bg1"/>
                </a:solidFill>
              </a:defRPr>
            </a:lvl7pPr>
            <a:lvl8pPr>
              <a:spcBef>
                <a:spcPts val="300"/>
              </a:spcBef>
              <a:defRPr sz="1000" b="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Position</a:t>
            </a:r>
          </a:p>
          <a:p>
            <a:pPr lvl="1"/>
            <a:r>
              <a:rPr lang="de-DE" noProof="1"/>
              <a:t>Zweite Ebene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F147D454-AA09-4138-993A-BB8060B5F8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0662" y="3115526"/>
            <a:ext cx="1889257" cy="39254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1"/>
              <a:t>Vorname Name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61BAFCB1-3FA3-485A-88D1-02116C4960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75920" y="3766718"/>
            <a:ext cx="1889257" cy="1000546"/>
          </a:xfrm>
        </p:spPr>
        <p:txBody>
          <a:bodyPr rIns="72000"/>
          <a:lstStyle>
            <a:lvl1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1"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300"/>
              </a:spcAft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Positio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endParaRPr lang="de-DE" noProof="1"/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119094-3167-41E8-A352-0DB7D90412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1177" y="3766718"/>
            <a:ext cx="1889257" cy="1000546"/>
          </a:xfrm>
        </p:spPr>
        <p:txBody>
          <a:bodyPr rIns="72000"/>
          <a:lstStyle>
            <a:lvl1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30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Positio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endParaRPr lang="de-DE" noProof="1"/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43ADF8C-AE96-4B9D-A68B-6DE23FE9EE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75920" y="3115526"/>
            <a:ext cx="1889257" cy="39254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1"/>
              <a:t>Vorname Name</a:t>
            </a:r>
          </a:p>
        </p:txBody>
      </p:sp>
      <p:sp>
        <p:nvSpPr>
          <p:cNvPr id="44" name="Textplatzhalter 20">
            <a:extLst>
              <a:ext uri="{FF2B5EF4-FFF2-40B4-BE49-F238E27FC236}">
                <a16:creationId xmlns:a16="http://schemas.microsoft.com/office/drawing/2014/main" id="{DE417FFC-7AAE-49A0-9D17-C410B03E8E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81177" y="3115526"/>
            <a:ext cx="1889257" cy="39254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1"/>
              <a:t>Vorname Name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D93DF56D-D896-497D-A741-15ADC4BCCD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86434" y="3766718"/>
            <a:ext cx="1889257" cy="1000546"/>
          </a:xfrm>
        </p:spPr>
        <p:txBody>
          <a:bodyPr rIns="72000"/>
          <a:lstStyle>
            <a:lvl1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1"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+mj-lt"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Position</a:t>
            </a:r>
          </a:p>
          <a:p>
            <a:pPr lvl="1"/>
            <a:r>
              <a:rPr lang="de-DE" noProof="1"/>
              <a:t>Zweite Ebene</a:t>
            </a:r>
          </a:p>
        </p:txBody>
      </p:sp>
      <p:sp>
        <p:nvSpPr>
          <p:cNvPr id="52" name="Textplatzhalter 20">
            <a:extLst>
              <a:ext uri="{FF2B5EF4-FFF2-40B4-BE49-F238E27FC236}">
                <a16:creationId xmlns:a16="http://schemas.microsoft.com/office/drawing/2014/main" id="{E091A08F-9853-46B6-9078-A73F918C2D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786434" y="3115526"/>
            <a:ext cx="1889257" cy="39254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cap="none" baseline="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cap="none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1"/>
              <a:t>Vorname Name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F0F46E86-CBFD-4033-A19C-1AD62EFF98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396462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Schräge ob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70661" y="1240870"/>
            <a:ext cx="8205027" cy="35263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Titelmasterformat durch Klicken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de-DE" noProof="1"/>
              <a:t>BVR Fußzei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B2EA1351-8BF0-48CC-B51B-5FDD4DCD7FF1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97A520E-F79B-4620-A07C-2D4D0204338A}"/>
              </a:ext>
            </a:extLst>
          </p:cNvPr>
          <p:cNvSpPr/>
          <p:nvPr userDrawn="1"/>
        </p:nvSpPr>
        <p:spPr bwMode="grayWhite">
          <a:xfrm rot="10800000">
            <a:off x="0" y="3111848"/>
            <a:ext cx="9144000" cy="2036415"/>
          </a:xfrm>
          <a:custGeom>
            <a:avLst/>
            <a:gdLst>
              <a:gd name="connsiteX0" fmla="*/ 0 w 9144000"/>
              <a:gd name="connsiteY0" fmla="*/ 2036415 h 2036415"/>
              <a:gd name="connsiteX1" fmla="*/ 0 w 9144000"/>
              <a:gd name="connsiteY1" fmla="*/ 2031652 h 2036415"/>
              <a:gd name="connsiteX2" fmla="*/ 0 w 9144000"/>
              <a:gd name="connsiteY2" fmla="*/ 295797 h 2036415"/>
              <a:gd name="connsiteX3" fmla="*/ 0 w 9144000"/>
              <a:gd name="connsiteY3" fmla="*/ 291034 h 2036415"/>
              <a:gd name="connsiteX4" fmla="*/ 0 w 9144000"/>
              <a:gd name="connsiteY4" fmla="*/ 4763 h 2036415"/>
              <a:gd name="connsiteX5" fmla="*/ 0 w 9144000"/>
              <a:gd name="connsiteY5" fmla="*/ 0 h 2036415"/>
              <a:gd name="connsiteX6" fmla="*/ 9144000 w 9144000"/>
              <a:gd name="connsiteY6" fmla="*/ 0 h 2036415"/>
              <a:gd name="connsiteX7" fmla="*/ 9144000 w 9144000"/>
              <a:gd name="connsiteY7" fmla="*/ 4763 h 2036415"/>
              <a:gd name="connsiteX8" fmla="*/ 9144000 w 9144000"/>
              <a:gd name="connsiteY8" fmla="*/ 291034 h 2036415"/>
              <a:gd name="connsiteX9" fmla="*/ 9144000 w 9144000"/>
              <a:gd name="connsiteY9" fmla="*/ 295797 h 2036415"/>
              <a:gd name="connsiteX10" fmla="*/ 9144000 w 9144000"/>
              <a:gd name="connsiteY10" fmla="*/ 908910 h 2036415"/>
              <a:gd name="connsiteX11" fmla="*/ 9144000 w 9144000"/>
              <a:gd name="connsiteY11" fmla="*/ 913673 h 2036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2036415">
                <a:moveTo>
                  <a:pt x="0" y="2036415"/>
                </a:moveTo>
                <a:lnTo>
                  <a:pt x="0" y="2031652"/>
                </a:lnTo>
                <a:lnTo>
                  <a:pt x="0" y="295797"/>
                </a:lnTo>
                <a:lnTo>
                  <a:pt x="0" y="291034"/>
                </a:lnTo>
                <a:lnTo>
                  <a:pt x="0" y="4763"/>
                </a:lnTo>
                <a:lnTo>
                  <a:pt x="0" y="0"/>
                </a:lnTo>
                <a:lnTo>
                  <a:pt x="9144000" y="0"/>
                </a:lnTo>
                <a:lnTo>
                  <a:pt x="9144000" y="4763"/>
                </a:lnTo>
                <a:lnTo>
                  <a:pt x="9144000" y="291034"/>
                </a:lnTo>
                <a:lnTo>
                  <a:pt x="9144000" y="295797"/>
                </a:lnTo>
                <a:lnTo>
                  <a:pt x="9144000" y="908910"/>
                </a:lnTo>
                <a:lnTo>
                  <a:pt x="9144000" y="913673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144000" indent="-144000" algn="l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de-DE" sz="1100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6952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Schräge rech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442D7CC-FBC6-4552-9ADA-0C6586B1A770}"/>
              </a:ext>
            </a:extLst>
          </p:cNvPr>
          <p:cNvSpPr/>
          <p:nvPr userDrawn="1"/>
        </p:nvSpPr>
        <p:spPr bwMode="blackGray">
          <a:xfrm>
            <a:off x="0" y="0"/>
            <a:ext cx="5312818" cy="5143134"/>
          </a:xfrm>
          <a:custGeom>
            <a:avLst/>
            <a:gdLst>
              <a:gd name="connsiteX0" fmla="*/ 8365239 w 8684735"/>
              <a:gd name="connsiteY0" fmla="*/ 261815 h 5143134"/>
              <a:gd name="connsiteX1" fmla="*/ 8684735 w 8684735"/>
              <a:gd name="connsiteY1" fmla="*/ 261815 h 5143134"/>
              <a:gd name="connsiteX2" fmla="*/ 8684735 w 8684735"/>
              <a:gd name="connsiteY2" fmla="*/ 482649 h 5143134"/>
              <a:gd name="connsiteX3" fmla="*/ 8365239 w 8684735"/>
              <a:gd name="connsiteY3" fmla="*/ 482649 h 5143134"/>
              <a:gd name="connsiteX4" fmla="*/ 0 w 8684735"/>
              <a:gd name="connsiteY4" fmla="*/ 0 h 5143134"/>
              <a:gd name="connsiteX5" fmla="*/ 5312818 w 8684735"/>
              <a:gd name="connsiteY5" fmla="*/ 0 h 5143134"/>
              <a:gd name="connsiteX6" fmla="*/ 4681538 w 8684735"/>
              <a:gd name="connsiteY6" fmla="*/ 5143134 h 5143134"/>
              <a:gd name="connsiteX7" fmla="*/ 0 w 8684735"/>
              <a:gd name="connsiteY7" fmla="*/ 5143134 h 5143134"/>
              <a:gd name="connsiteX0" fmla="*/ 8365239 w 8684735"/>
              <a:gd name="connsiteY0" fmla="*/ 261815 h 5143134"/>
              <a:gd name="connsiteX1" fmla="*/ 8684735 w 8684735"/>
              <a:gd name="connsiteY1" fmla="*/ 261815 h 5143134"/>
              <a:gd name="connsiteX2" fmla="*/ 8365239 w 8684735"/>
              <a:gd name="connsiteY2" fmla="*/ 482649 h 5143134"/>
              <a:gd name="connsiteX3" fmla="*/ 8365239 w 8684735"/>
              <a:gd name="connsiteY3" fmla="*/ 261815 h 5143134"/>
              <a:gd name="connsiteX4" fmla="*/ 0 w 8684735"/>
              <a:gd name="connsiteY4" fmla="*/ 0 h 5143134"/>
              <a:gd name="connsiteX5" fmla="*/ 5312818 w 8684735"/>
              <a:gd name="connsiteY5" fmla="*/ 0 h 5143134"/>
              <a:gd name="connsiteX6" fmla="*/ 4681538 w 8684735"/>
              <a:gd name="connsiteY6" fmla="*/ 5143134 h 5143134"/>
              <a:gd name="connsiteX7" fmla="*/ 0 w 8684735"/>
              <a:gd name="connsiteY7" fmla="*/ 5143134 h 5143134"/>
              <a:gd name="connsiteX8" fmla="*/ 0 w 8684735"/>
              <a:gd name="connsiteY8" fmla="*/ 0 h 5143134"/>
              <a:gd name="connsiteX0" fmla="*/ 8365239 w 8365239"/>
              <a:gd name="connsiteY0" fmla="*/ 261815 h 5143134"/>
              <a:gd name="connsiteX1" fmla="*/ 8365239 w 8365239"/>
              <a:gd name="connsiteY1" fmla="*/ 482649 h 5143134"/>
              <a:gd name="connsiteX2" fmla="*/ 8365239 w 8365239"/>
              <a:gd name="connsiteY2" fmla="*/ 261815 h 5143134"/>
              <a:gd name="connsiteX3" fmla="*/ 0 w 8365239"/>
              <a:gd name="connsiteY3" fmla="*/ 0 h 5143134"/>
              <a:gd name="connsiteX4" fmla="*/ 5312818 w 8365239"/>
              <a:gd name="connsiteY4" fmla="*/ 0 h 5143134"/>
              <a:gd name="connsiteX5" fmla="*/ 4681538 w 8365239"/>
              <a:gd name="connsiteY5" fmla="*/ 5143134 h 5143134"/>
              <a:gd name="connsiteX6" fmla="*/ 0 w 8365239"/>
              <a:gd name="connsiteY6" fmla="*/ 5143134 h 5143134"/>
              <a:gd name="connsiteX7" fmla="*/ 0 w 8365239"/>
              <a:gd name="connsiteY7" fmla="*/ 0 h 5143134"/>
              <a:gd name="connsiteX0" fmla="*/ 0 w 5312818"/>
              <a:gd name="connsiteY0" fmla="*/ 0 h 5143134"/>
              <a:gd name="connsiteX1" fmla="*/ 5312818 w 5312818"/>
              <a:gd name="connsiteY1" fmla="*/ 0 h 5143134"/>
              <a:gd name="connsiteX2" fmla="*/ 4681538 w 5312818"/>
              <a:gd name="connsiteY2" fmla="*/ 5143134 h 5143134"/>
              <a:gd name="connsiteX3" fmla="*/ 0 w 5312818"/>
              <a:gd name="connsiteY3" fmla="*/ 5143134 h 5143134"/>
              <a:gd name="connsiteX4" fmla="*/ 0 w 5312818"/>
              <a:gd name="connsiteY4" fmla="*/ 0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2818" h="5143134">
                <a:moveTo>
                  <a:pt x="0" y="0"/>
                </a:moveTo>
                <a:lnTo>
                  <a:pt x="5312818" y="0"/>
                </a:lnTo>
                <a:lnTo>
                  <a:pt x="4681538" y="5143134"/>
                </a:lnTo>
                <a:lnTo>
                  <a:pt x="0" y="514313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3" y="1240870"/>
            <a:ext cx="3993388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79949" y="4886077"/>
            <a:ext cx="3995741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9D52384C-FA8A-482C-BDFA-C203B65DE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6"/>
            <a:ext cx="3993390" cy="468312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C9FEC52-3260-441C-BB85-E694E8D568B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B3590FB-4ACF-4026-B01F-A17A58152BB5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7D1E9D-7414-4A15-B6A4-1231D7FD98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E48C1E-5F59-4AD0-911D-D76BD0C8B1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0"/>
            <a:fld id="{E37CB091-918D-45F7-A5C8-9E20A6ED19B7}" type="slidenum">
              <a:rPr lang="de-DE" noProof="1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2413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Smartphon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5396510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79E0B38E-00B3-40F9-B814-1130C004C5E3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8" name="Picture 11" descr="A picture containing monitor, sign, sitting, bus&#10;&#10;Description automatically generated">
            <a:extLst>
              <a:ext uri="{FF2B5EF4-FFF2-40B4-BE49-F238E27FC236}">
                <a16:creationId xmlns:a16="http://schemas.microsoft.com/office/drawing/2014/main" id="{09DCAA82-352D-4F7C-BC68-1BEAAAB9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660" y="1192485"/>
            <a:ext cx="2453726" cy="3861720"/>
          </a:xfrm>
          <a:prstGeom prst="rect">
            <a:avLst/>
          </a:prstGeom>
        </p:spPr>
      </p:pic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D6B7EDF9-571E-4196-BB83-9B2DDC640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655255" y="1330757"/>
            <a:ext cx="1472722" cy="3185204"/>
          </a:xfrm>
          <a:custGeom>
            <a:avLst/>
            <a:gdLst>
              <a:gd name="connsiteX0" fmla="*/ 219387 w 2231231"/>
              <a:gd name="connsiteY0" fmla="*/ 40 h 4833612"/>
              <a:gd name="connsiteX1" fmla="*/ 223489 w 2231231"/>
              <a:gd name="connsiteY1" fmla="*/ 207 h 4833612"/>
              <a:gd name="connsiteX2" fmla="*/ 520254 w 2231231"/>
              <a:gd name="connsiteY2" fmla="*/ 207 h 4833612"/>
              <a:gd name="connsiteX3" fmla="*/ 545900 w 2231231"/>
              <a:gd name="connsiteY3" fmla="*/ 11198 h 4833612"/>
              <a:gd name="connsiteX4" fmla="*/ 553228 w 2231231"/>
              <a:gd name="connsiteY4" fmla="*/ 29517 h 4833612"/>
              <a:gd name="connsiteX5" fmla="*/ 553228 w 2231231"/>
              <a:gd name="connsiteY5" fmla="*/ 58827 h 4833612"/>
              <a:gd name="connsiteX6" fmla="*/ 589866 w 2231231"/>
              <a:gd name="connsiteY6" fmla="*/ 128439 h 4833612"/>
              <a:gd name="connsiteX7" fmla="*/ 659477 w 2231231"/>
              <a:gd name="connsiteY7" fmla="*/ 161412 h 4833612"/>
              <a:gd name="connsiteX8" fmla="*/ 1571754 w 2231231"/>
              <a:gd name="connsiteY8" fmla="*/ 161412 h 4833612"/>
              <a:gd name="connsiteX9" fmla="*/ 1637702 w 2231231"/>
              <a:gd name="connsiteY9" fmla="*/ 121111 h 4833612"/>
              <a:gd name="connsiteX10" fmla="*/ 1667012 w 2231231"/>
              <a:gd name="connsiteY10" fmla="*/ 25853 h 4833612"/>
              <a:gd name="connsiteX11" fmla="*/ 1678003 w 2231231"/>
              <a:gd name="connsiteY11" fmla="*/ 7534 h 4833612"/>
              <a:gd name="connsiteX12" fmla="*/ 1699986 w 2231231"/>
              <a:gd name="connsiteY12" fmla="*/ 207 h 4833612"/>
              <a:gd name="connsiteX13" fmla="*/ 1985759 w 2231231"/>
              <a:gd name="connsiteY13" fmla="*/ 207 h 4833612"/>
              <a:gd name="connsiteX14" fmla="*/ 2168947 w 2231231"/>
              <a:gd name="connsiteY14" fmla="*/ 69818 h 4833612"/>
              <a:gd name="connsiteX15" fmla="*/ 2231231 w 2231231"/>
              <a:gd name="connsiteY15" fmla="*/ 227360 h 4833612"/>
              <a:gd name="connsiteX16" fmla="*/ 2231231 w 2231231"/>
              <a:gd name="connsiteY16" fmla="*/ 4612883 h 4833612"/>
              <a:gd name="connsiteX17" fmla="*/ 2183602 w 2231231"/>
              <a:gd name="connsiteY17" fmla="*/ 4759434 h 4833612"/>
              <a:gd name="connsiteX18" fmla="*/ 2044379 w 2231231"/>
              <a:gd name="connsiteY18" fmla="*/ 4832709 h 4833612"/>
              <a:gd name="connsiteX19" fmla="*/ 1674339 w 2231231"/>
              <a:gd name="connsiteY19" fmla="*/ 4832709 h 4833612"/>
              <a:gd name="connsiteX20" fmla="*/ 227153 w 2231231"/>
              <a:gd name="connsiteY20" fmla="*/ 4832709 h 4833612"/>
              <a:gd name="connsiteX21" fmla="*/ 51293 w 2231231"/>
              <a:gd name="connsiteY21" fmla="*/ 4766761 h 4833612"/>
              <a:gd name="connsiteX22" fmla="*/ 0 w 2231231"/>
              <a:gd name="connsiteY22" fmla="*/ 4612883 h 4833612"/>
              <a:gd name="connsiteX23" fmla="*/ 0 w 2231231"/>
              <a:gd name="connsiteY23" fmla="*/ 209041 h 4833612"/>
              <a:gd name="connsiteX24" fmla="*/ 65948 w 2231231"/>
              <a:gd name="connsiteY24" fmla="*/ 58827 h 4833612"/>
              <a:gd name="connsiteX25" fmla="*/ 219387 w 2231231"/>
              <a:gd name="connsiteY25" fmla="*/ 40 h 483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231231" h="4833612">
                <a:moveTo>
                  <a:pt x="219387" y="40"/>
                </a:moveTo>
                <a:cubicBezTo>
                  <a:pt x="222044" y="100"/>
                  <a:pt x="223489" y="207"/>
                  <a:pt x="223489" y="207"/>
                </a:cubicBezTo>
                <a:lnTo>
                  <a:pt x="520254" y="207"/>
                </a:lnTo>
                <a:cubicBezTo>
                  <a:pt x="520254" y="207"/>
                  <a:pt x="532925" y="-1777"/>
                  <a:pt x="545900" y="11198"/>
                </a:cubicBezTo>
                <a:cubicBezTo>
                  <a:pt x="553228" y="18526"/>
                  <a:pt x="553228" y="29517"/>
                  <a:pt x="553228" y="29517"/>
                </a:cubicBezTo>
                <a:lnTo>
                  <a:pt x="553228" y="58827"/>
                </a:lnTo>
                <a:cubicBezTo>
                  <a:pt x="553228" y="58827"/>
                  <a:pt x="559487" y="102029"/>
                  <a:pt x="589866" y="128439"/>
                </a:cubicBezTo>
                <a:cubicBezTo>
                  <a:pt x="625893" y="159733"/>
                  <a:pt x="659477" y="161412"/>
                  <a:pt x="659477" y="161412"/>
                </a:cubicBezTo>
                <a:lnTo>
                  <a:pt x="1571754" y="161412"/>
                </a:lnTo>
                <a:cubicBezTo>
                  <a:pt x="1571754" y="161412"/>
                  <a:pt x="1610071" y="156069"/>
                  <a:pt x="1637702" y="121111"/>
                </a:cubicBezTo>
                <a:cubicBezTo>
                  <a:pt x="1668691" y="82031"/>
                  <a:pt x="1667012" y="25853"/>
                  <a:pt x="1667012" y="25853"/>
                </a:cubicBezTo>
                <a:cubicBezTo>
                  <a:pt x="1667012" y="25853"/>
                  <a:pt x="1670523" y="14251"/>
                  <a:pt x="1678003" y="7534"/>
                </a:cubicBezTo>
                <a:cubicBezTo>
                  <a:pt x="1687315" y="-710"/>
                  <a:pt x="1699986" y="207"/>
                  <a:pt x="1699986" y="207"/>
                </a:cubicBezTo>
                <a:lnTo>
                  <a:pt x="1985759" y="207"/>
                </a:lnTo>
                <a:cubicBezTo>
                  <a:pt x="1985759" y="207"/>
                  <a:pt x="2103458" y="-1014"/>
                  <a:pt x="2168947" y="69818"/>
                </a:cubicBezTo>
                <a:cubicBezTo>
                  <a:pt x="2231231" y="137292"/>
                  <a:pt x="2231231" y="227360"/>
                  <a:pt x="2231231" y="227360"/>
                </a:cubicBezTo>
                <a:lnTo>
                  <a:pt x="2231231" y="4612883"/>
                </a:lnTo>
                <a:cubicBezTo>
                  <a:pt x="2231231" y="4612883"/>
                  <a:pt x="2228484" y="4699286"/>
                  <a:pt x="2183602" y="4759434"/>
                </a:cubicBezTo>
                <a:cubicBezTo>
                  <a:pt x="2128341" y="4833472"/>
                  <a:pt x="2044379" y="4832709"/>
                  <a:pt x="2044379" y="4832709"/>
                </a:cubicBezTo>
                <a:lnTo>
                  <a:pt x="1674339" y="4832709"/>
                </a:lnTo>
                <a:lnTo>
                  <a:pt x="227153" y="4832709"/>
                </a:lnTo>
                <a:cubicBezTo>
                  <a:pt x="227153" y="4832709"/>
                  <a:pt x="125789" y="4846449"/>
                  <a:pt x="51293" y="4766761"/>
                </a:cubicBezTo>
                <a:cubicBezTo>
                  <a:pt x="3359" y="4715469"/>
                  <a:pt x="0" y="4612883"/>
                  <a:pt x="0" y="4612883"/>
                </a:cubicBezTo>
                <a:lnTo>
                  <a:pt x="0" y="209041"/>
                </a:lnTo>
                <a:cubicBezTo>
                  <a:pt x="0" y="209041"/>
                  <a:pt x="4581" y="120653"/>
                  <a:pt x="65948" y="58827"/>
                </a:cubicBezTo>
                <a:cubicBezTo>
                  <a:pt x="122851" y="1524"/>
                  <a:pt x="200791" y="-380"/>
                  <a:pt x="219387" y="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900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6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82320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2588451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191A5FC7-640B-4CC2-A717-01EE2184E20B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11" name="Picture 11" descr="A picture containing monitor, sitting, screen, computer&#10;&#10;Description automatically generated">
            <a:extLst>
              <a:ext uri="{FF2B5EF4-FFF2-40B4-BE49-F238E27FC236}">
                <a16:creationId xmlns:a16="http://schemas.microsoft.com/office/drawing/2014/main" id="{F50F3165-C5BE-4347-983D-6675533FD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8726" y="1154906"/>
            <a:ext cx="4995886" cy="3759404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F72C7FD9-D170-4E1E-A41A-CDB398A903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406952" y="1379981"/>
            <a:ext cx="4124564" cy="3081226"/>
          </a:xfrm>
          <a:custGeom>
            <a:avLst/>
            <a:gdLst>
              <a:gd name="connsiteX0" fmla="*/ 69844 w 6241255"/>
              <a:gd name="connsiteY0" fmla="*/ 0 h 4662486"/>
              <a:gd name="connsiteX1" fmla="*/ 6171411 w 6241255"/>
              <a:gd name="connsiteY1" fmla="*/ 0 h 4662486"/>
              <a:gd name="connsiteX2" fmla="*/ 6241255 w 6241255"/>
              <a:gd name="connsiteY2" fmla="*/ 69844 h 4662486"/>
              <a:gd name="connsiteX3" fmla="*/ 6241255 w 6241255"/>
              <a:gd name="connsiteY3" fmla="*/ 4592642 h 4662486"/>
              <a:gd name="connsiteX4" fmla="*/ 6171411 w 6241255"/>
              <a:gd name="connsiteY4" fmla="*/ 4662486 h 4662486"/>
              <a:gd name="connsiteX5" fmla="*/ 69844 w 6241255"/>
              <a:gd name="connsiteY5" fmla="*/ 4662486 h 4662486"/>
              <a:gd name="connsiteX6" fmla="*/ 0 w 6241255"/>
              <a:gd name="connsiteY6" fmla="*/ 4592642 h 4662486"/>
              <a:gd name="connsiteX7" fmla="*/ 0 w 6241255"/>
              <a:gd name="connsiteY7" fmla="*/ 69844 h 4662486"/>
              <a:gd name="connsiteX8" fmla="*/ 69844 w 6241255"/>
              <a:gd name="connsiteY8" fmla="*/ 0 h 4662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41255" h="4662486">
                <a:moveTo>
                  <a:pt x="69844" y="0"/>
                </a:moveTo>
                <a:lnTo>
                  <a:pt x="6171411" y="0"/>
                </a:lnTo>
                <a:cubicBezTo>
                  <a:pt x="6209985" y="0"/>
                  <a:pt x="6241255" y="31270"/>
                  <a:pt x="6241255" y="69844"/>
                </a:cubicBezTo>
                <a:lnTo>
                  <a:pt x="6241255" y="4592642"/>
                </a:lnTo>
                <a:cubicBezTo>
                  <a:pt x="6241255" y="4631216"/>
                  <a:pt x="6209985" y="4662486"/>
                  <a:pt x="6171411" y="4662486"/>
                </a:cubicBezTo>
                <a:lnTo>
                  <a:pt x="69844" y="4662486"/>
                </a:lnTo>
                <a:cubicBezTo>
                  <a:pt x="31270" y="4662486"/>
                  <a:pt x="0" y="4631216"/>
                  <a:pt x="0" y="4592642"/>
                </a:cubicBezTo>
                <a:lnTo>
                  <a:pt x="0" y="69844"/>
                </a:lnTo>
                <a:cubicBezTo>
                  <a:pt x="0" y="31270"/>
                  <a:pt x="31270" y="0"/>
                  <a:pt x="6984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828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53516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D59C1EDF-2438-46EA-977C-BEB5824DA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05901" y="869155"/>
            <a:ext cx="6785297" cy="3894761"/>
          </a:xfrm>
          <a:prstGeom prst="rect">
            <a:avLst/>
          </a:prstGeom>
        </p:spPr>
      </p:pic>
      <p:sp>
        <p:nvSpPr>
          <p:cNvPr id="13" name="Picture Placeholder 15">
            <a:extLst>
              <a:ext uri="{FF2B5EF4-FFF2-40B4-BE49-F238E27FC236}">
                <a16:creationId xmlns:a16="http://schemas.microsoft.com/office/drawing/2014/main" id="{A60C822A-8C0F-46A8-ACC1-931403A692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860751" y="1379981"/>
            <a:ext cx="4675595" cy="2927936"/>
          </a:xfrm>
          <a:custGeom>
            <a:avLst/>
            <a:gdLst>
              <a:gd name="connsiteX0" fmla="*/ 0 w 7015162"/>
              <a:gd name="connsiteY0" fmla="*/ 0 h 4393012"/>
              <a:gd name="connsiteX1" fmla="*/ 7015162 w 7015162"/>
              <a:gd name="connsiteY1" fmla="*/ 0 h 4393012"/>
              <a:gd name="connsiteX2" fmla="*/ 7015162 w 7015162"/>
              <a:gd name="connsiteY2" fmla="*/ 4393012 h 4393012"/>
              <a:gd name="connsiteX3" fmla="*/ 0 w 7015162"/>
              <a:gd name="connsiteY3" fmla="*/ 4393012 h 439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15162" h="4393012">
                <a:moveTo>
                  <a:pt x="0" y="0"/>
                </a:moveTo>
                <a:lnTo>
                  <a:pt x="7015162" y="0"/>
                </a:lnTo>
                <a:lnTo>
                  <a:pt x="7015162" y="4393012"/>
                </a:lnTo>
                <a:lnTo>
                  <a:pt x="0" y="43930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684000" anchor="b">
            <a:noAutofit/>
          </a:bodyPr>
          <a:lstStyle>
            <a:lvl1pPr algn="ctr"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2588451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29064BCD-B6DB-4278-95D5-B51825069DBE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42126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43"/>
          <p:cNvSpPr txBox="1"/>
          <p:nvPr userDrawn="1"/>
        </p:nvSpPr>
        <p:spPr bwMode="invGray">
          <a:xfrm>
            <a:off x="470660" y="974723"/>
            <a:ext cx="2606100" cy="57672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3600" b="1" noProof="1">
                <a:solidFill>
                  <a:schemeClr val="bg1"/>
                </a:solidFill>
                <a:latin typeface="GenosGFG" panose="020B0504040000000004" pitchFamily="34" charset="0"/>
              </a:rPr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276601" y="1023938"/>
            <a:ext cx="5399090" cy="3743324"/>
          </a:xfrm>
        </p:spPr>
        <p:txBody>
          <a:bodyPr/>
          <a:lstStyle>
            <a:lvl1pPr marL="216000" indent="-216000" defTabSz="43200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  <a:defRPr sz="1200" b="1" cap="none" baseline="0">
                <a:solidFill>
                  <a:schemeClr val="bg1"/>
                </a:solidFill>
              </a:defRPr>
            </a:lvl1pPr>
            <a:lvl2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2pPr>
            <a:lvl3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3pPr>
            <a:lvl4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4pPr>
            <a:lvl5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5pPr>
            <a:lvl6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6pPr>
            <a:lvl7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7pPr>
            <a:lvl8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8pPr>
            <a:lvl9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Ersten Agendapunkt ein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58B211-7313-42C3-92E5-03BB02E42B7C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A6365AB7-3483-40D8-9FB1-EFCEB4E493C1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80DE16D-57A9-4E27-9DC5-A171B8E32B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White">
          <a:xfrm>
            <a:off x="470660" y="269743"/>
            <a:ext cx="5396739" cy="1386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C366981C-D79D-4EC9-B991-45D9F8079A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White">
          <a:xfrm>
            <a:off x="470661" y="4886077"/>
            <a:ext cx="284915" cy="1386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14827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Bilderrahm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3993389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7"/>
            <a:ext cx="3993389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DA45F524-7608-41CB-9B13-E8A1F3F3FB6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3993390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E3604EC-9432-46F7-AAB0-FBE421B9F1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950" y="0"/>
            <a:ext cx="4464049" cy="5143500"/>
          </a:xfrm>
          <a:prstGeom prst="rect">
            <a:avLst/>
          </a:prstGeom>
        </p:spPr>
      </p:pic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4B54669A-9806-4D48-BDFA-DE852F4331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448301" y="645319"/>
            <a:ext cx="2533649" cy="3800475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136312" h="6308725">
                <a:moveTo>
                  <a:pt x="0" y="0"/>
                </a:moveTo>
                <a:lnTo>
                  <a:pt x="471320" y="0"/>
                </a:lnTo>
                <a:lnTo>
                  <a:pt x="635119" y="0"/>
                </a:lnTo>
                <a:lnTo>
                  <a:pt x="5238997" y="0"/>
                </a:lnTo>
                <a:lnTo>
                  <a:pt x="6061398" y="0"/>
                </a:lnTo>
                <a:lnTo>
                  <a:pt x="11136312" y="0"/>
                </a:lnTo>
                <a:lnTo>
                  <a:pt x="11136312" y="1088138"/>
                </a:lnTo>
                <a:lnTo>
                  <a:pt x="11136312" y="1628775"/>
                </a:lnTo>
                <a:lnTo>
                  <a:pt x="11136312" y="6308725"/>
                </a:lnTo>
                <a:lnTo>
                  <a:pt x="6480312" y="6308725"/>
                </a:lnTo>
                <a:lnTo>
                  <a:pt x="6095999" y="6308725"/>
                </a:lnTo>
                <a:lnTo>
                  <a:pt x="0" y="63087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044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127084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Bilderrahmen Schrä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97A520E-F79B-4620-A07C-2D4D0204338A}"/>
              </a:ext>
            </a:extLst>
          </p:cNvPr>
          <p:cNvSpPr/>
          <p:nvPr userDrawn="1"/>
        </p:nvSpPr>
        <p:spPr bwMode="grayWhite">
          <a:xfrm rot="10800000">
            <a:off x="0" y="3111848"/>
            <a:ext cx="9144000" cy="2036415"/>
          </a:xfrm>
          <a:custGeom>
            <a:avLst/>
            <a:gdLst>
              <a:gd name="connsiteX0" fmla="*/ 0 w 9144000"/>
              <a:gd name="connsiteY0" fmla="*/ 2036415 h 2036415"/>
              <a:gd name="connsiteX1" fmla="*/ 0 w 9144000"/>
              <a:gd name="connsiteY1" fmla="*/ 2031652 h 2036415"/>
              <a:gd name="connsiteX2" fmla="*/ 0 w 9144000"/>
              <a:gd name="connsiteY2" fmla="*/ 295797 h 2036415"/>
              <a:gd name="connsiteX3" fmla="*/ 0 w 9144000"/>
              <a:gd name="connsiteY3" fmla="*/ 291034 h 2036415"/>
              <a:gd name="connsiteX4" fmla="*/ 0 w 9144000"/>
              <a:gd name="connsiteY4" fmla="*/ 4763 h 2036415"/>
              <a:gd name="connsiteX5" fmla="*/ 0 w 9144000"/>
              <a:gd name="connsiteY5" fmla="*/ 0 h 2036415"/>
              <a:gd name="connsiteX6" fmla="*/ 9144000 w 9144000"/>
              <a:gd name="connsiteY6" fmla="*/ 0 h 2036415"/>
              <a:gd name="connsiteX7" fmla="*/ 9144000 w 9144000"/>
              <a:gd name="connsiteY7" fmla="*/ 4763 h 2036415"/>
              <a:gd name="connsiteX8" fmla="*/ 9144000 w 9144000"/>
              <a:gd name="connsiteY8" fmla="*/ 291034 h 2036415"/>
              <a:gd name="connsiteX9" fmla="*/ 9144000 w 9144000"/>
              <a:gd name="connsiteY9" fmla="*/ 295797 h 2036415"/>
              <a:gd name="connsiteX10" fmla="*/ 9144000 w 9144000"/>
              <a:gd name="connsiteY10" fmla="*/ 908910 h 2036415"/>
              <a:gd name="connsiteX11" fmla="*/ 9144000 w 9144000"/>
              <a:gd name="connsiteY11" fmla="*/ 913673 h 2036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2036415">
                <a:moveTo>
                  <a:pt x="0" y="2036415"/>
                </a:moveTo>
                <a:lnTo>
                  <a:pt x="0" y="2031652"/>
                </a:lnTo>
                <a:lnTo>
                  <a:pt x="0" y="295797"/>
                </a:lnTo>
                <a:lnTo>
                  <a:pt x="0" y="291034"/>
                </a:lnTo>
                <a:lnTo>
                  <a:pt x="0" y="4763"/>
                </a:lnTo>
                <a:lnTo>
                  <a:pt x="0" y="0"/>
                </a:lnTo>
                <a:lnTo>
                  <a:pt x="9144000" y="0"/>
                </a:lnTo>
                <a:lnTo>
                  <a:pt x="9144000" y="4763"/>
                </a:lnTo>
                <a:lnTo>
                  <a:pt x="9144000" y="291034"/>
                </a:lnTo>
                <a:lnTo>
                  <a:pt x="9144000" y="295797"/>
                </a:lnTo>
                <a:lnTo>
                  <a:pt x="9144000" y="908910"/>
                </a:lnTo>
                <a:lnTo>
                  <a:pt x="9144000" y="913673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144000" indent="-144000" algn="l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de-DE" sz="1100" noProof="1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70661" y="1240870"/>
            <a:ext cx="3993389" cy="35263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470661" y="555627"/>
            <a:ext cx="3993389" cy="468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Titelmasterformat durch Klicken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White">
          <a:xfrm>
            <a:off x="470661" y="269743"/>
            <a:ext cx="3993390" cy="1386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de-DE" noProof="1"/>
              <a:t>BVR Fußzei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A2B856AC-83F3-4225-A75C-8D8CA8C8D4AC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CD8A900-3E49-46F0-A422-500DC15FE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950" y="0"/>
            <a:ext cx="4464049" cy="5143500"/>
          </a:xfrm>
          <a:prstGeom prst="rect">
            <a:avLst/>
          </a:prstGeom>
        </p:spPr>
      </p:pic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4FFCE169-37AB-46A9-B38F-3FBE732632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448301" y="645319"/>
            <a:ext cx="2533649" cy="3800475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136312" h="6308725">
                <a:moveTo>
                  <a:pt x="0" y="0"/>
                </a:moveTo>
                <a:lnTo>
                  <a:pt x="471320" y="0"/>
                </a:lnTo>
                <a:lnTo>
                  <a:pt x="635119" y="0"/>
                </a:lnTo>
                <a:lnTo>
                  <a:pt x="5238997" y="0"/>
                </a:lnTo>
                <a:lnTo>
                  <a:pt x="6061398" y="0"/>
                </a:lnTo>
                <a:lnTo>
                  <a:pt x="11136312" y="0"/>
                </a:lnTo>
                <a:lnTo>
                  <a:pt x="11136312" y="1088138"/>
                </a:lnTo>
                <a:lnTo>
                  <a:pt x="11136312" y="1628775"/>
                </a:lnTo>
                <a:lnTo>
                  <a:pt x="11136312" y="6308725"/>
                </a:lnTo>
                <a:lnTo>
                  <a:pt x="6480312" y="6308725"/>
                </a:lnTo>
                <a:lnTo>
                  <a:pt x="6095999" y="6308725"/>
                </a:lnTo>
                <a:lnTo>
                  <a:pt x="0" y="63087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044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198790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ost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0"/>
            <a:ext cx="3993389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0661" y="555627"/>
            <a:ext cx="3993389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39D8C29A-886B-4B09-9BAC-1D02FB9ECF6E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3993390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CFDA12D-F017-48A5-90BD-4244435AA1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402"/>
          <a:stretch/>
        </p:blipFill>
        <p:spPr bwMode="gray">
          <a:xfrm>
            <a:off x="4679950" y="0"/>
            <a:ext cx="4464051" cy="5143499"/>
          </a:xfrm>
          <a:prstGeom prst="rect">
            <a:avLst/>
          </a:prstGeom>
        </p:spPr>
      </p:pic>
      <p:sp>
        <p:nvSpPr>
          <p:cNvPr id="18" name="Bildplatzhalter 25">
            <a:extLst>
              <a:ext uri="{FF2B5EF4-FFF2-40B4-BE49-F238E27FC236}">
                <a16:creationId xmlns:a16="http://schemas.microsoft.com/office/drawing/2014/main" id="{5FBBE2C7-C62C-4D7F-B0A9-37AF0FC7D70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4582" y="767428"/>
            <a:ext cx="2834111" cy="3759571"/>
          </a:xfrm>
          <a:custGeom>
            <a:avLst/>
            <a:gdLst>
              <a:gd name="connsiteX0" fmla="*/ 0 w 3861568"/>
              <a:gd name="connsiteY0" fmla="*/ 0 h 5119688"/>
              <a:gd name="connsiteX1" fmla="*/ 526906 w 3861568"/>
              <a:gd name="connsiteY1" fmla="*/ 0 h 5119688"/>
              <a:gd name="connsiteX2" fmla="*/ 526906 w 3861568"/>
              <a:gd name="connsiteY2" fmla="*/ 83462 h 5119688"/>
              <a:gd name="connsiteX3" fmla="*/ 568489 w 3861568"/>
              <a:gd name="connsiteY3" fmla="*/ 83462 h 5119688"/>
              <a:gd name="connsiteX4" fmla="*/ 582451 w 3861568"/>
              <a:gd name="connsiteY4" fmla="*/ 65751 h 5119688"/>
              <a:gd name="connsiteX5" fmla="*/ 596412 w 3861568"/>
              <a:gd name="connsiteY5" fmla="*/ 83462 h 5119688"/>
              <a:gd name="connsiteX6" fmla="*/ 652980 w 3861568"/>
              <a:gd name="connsiteY6" fmla="*/ 83462 h 5119688"/>
              <a:gd name="connsiteX7" fmla="*/ 671549 w 3861568"/>
              <a:gd name="connsiteY7" fmla="*/ 68136 h 5119688"/>
              <a:gd name="connsiteX8" fmla="*/ 690119 w 3861568"/>
              <a:gd name="connsiteY8" fmla="*/ 83462 h 5119688"/>
              <a:gd name="connsiteX9" fmla="*/ 729563 w 3861568"/>
              <a:gd name="connsiteY9" fmla="*/ 83462 h 5119688"/>
              <a:gd name="connsiteX10" fmla="*/ 729563 w 3861568"/>
              <a:gd name="connsiteY10" fmla="*/ 0 h 5119688"/>
              <a:gd name="connsiteX11" fmla="*/ 3136407 w 3861568"/>
              <a:gd name="connsiteY11" fmla="*/ 0 h 5119688"/>
              <a:gd name="connsiteX12" fmla="*/ 3136407 w 3861568"/>
              <a:gd name="connsiteY12" fmla="*/ 83462 h 5119688"/>
              <a:gd name="connsiteX13" fmla="*/ 3177991 w 3861568"/>
              <a:gd name="connsiteY13" fmla="*/ 83462 h 5119688"/>
              <a:gd name="connsiteX14" fmla="*/ 3191952 w 3861568"/>
              <a:gd name="connsiteY14" fmla="*/ 65751 h 5119688"/>
              <a:gd name="connsiteX15" fmla="*/ 3205913 w 3861568"/>
              <a:gd name="connsiteY15" fmla="*/ 83462 h 5119688"/>
              <a:gd name="connsiteX16" fmla="*/ 3262481 w 3861568"/>
              <a:gd name="connsiteY16" fmla="*/ 83462 h 5119688"/>
              <a:gd name="connsiteX17" fmla="*/ 3281050 w 3861568"/>
              <a:gd name="connsiteY17" fmla="*/ 68136 h 5119688"/>
              <a:gd name="connsiteX18" fmla="*/ 3299620 w 3861568"/>
              <a:gd name="connsiteY18" fmla="*/ 83462 h 5119688"/>
              <a:gd name="connsiteX19" fmla="*/ 3339065 w 3861568"/>
              <a:gd name="connsiteY19" fmla="*/ 83462 h 5119688"/>
              <a:gd name="connsiteX20" fmla="*/ 3339065 w 3861568"/>
              <a:gd name="connsiteY20" fmla="*/ 0 h 5119688"/>
              <a:gd name="connsiteX21" fmla="*/ 3789560 w 3861568"/>
              <a:gd name="connsiteY21" fmla="*/ 0 h 5119688"/>
              <a:gd name="connsiteX22" fmla="*/ 3855243 w 3861568"/>
              <a:gd name="connsiteY22" fmla="*/ 0 h 5119688"/>
              <a:gd name="connsiteX23" fmla="*/ 3861568 w 3861568"/>
              <a:gd name="connsiteY23" fmla="*/ 0 h 5119688"/>
              <a:gd name="connsiteX24" fmla="*/ 3861568 w 3861568"/>
              <a:gd name="connsiteY24" fmla="*/ 5119688 h 5119688"/>
              <a:gd name="connsiteX25" fmla="*/ 3855243 w 3861568"/>
              <a:gd name="connsiteY25" fmla="*/ 5119688 h 5119688"/>
              <a:gd name="connsiteX26" fmla="*/ 3789560 w 3861568"/>
              <a:gd name="connsiteY26" fmla="*/ 5119688 h 5119688"/>
              <a:gd name="connsiteX27" fmla="*/ 0 w 3861568"/>
              <a:gd name="connsiteY27" fmla="*/ 5119688 h 5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61568" h="5119688">
                <a:moveTo>
                  <a:pt x="0" y="0"/>
                </a:moveTo>
                <a:lnTo>
                  <a:pt x="526906" y="0"/>
                </a:lnTo>
                <a:lnTo>
                  <a:pt x="526906" y="83462"/>
                </a:lnTo>
                <a:lnTo>
                  <a:pt x="568489" y="83462"/>
                </a:lnTo>
                <a:lnTo>
                  <a:pt x="582451" y="65751"/>
                </a:lnTo>
                <a:lnTo>
                  <a:pt x="596412" y="83462"/>
                </a:lnTo>
                <a:lnTo>
                  <a:pt x="652980" y="83462"/>
                </a:lnTo>
                <a:lnTo>
                  <a:pt x="671549" y="68136"/>
                </a:lnTo>
                <a:lnTo>
                  <a:pt x="690119" y="83462"/>
                </a:lnTo>
                <a:lnTo>
                  <a:pt x="729563" y="83462"/>
                </a:lnTo>
                <a:lnTo>
                  <a:pt x="729563" y="0"/>
                </a:lnTo>
                <a:lnTo>
                  <a:pt x="3136407" y="0"/>
                </a:lnTo>
                <a:lnTo>
                  <a:pt x="3136407" y="83462"/>
                </a:lnTo>
                <a:lnTo>
                  <a:pt x="3177991" y="83462"/>
                </a:lnTo>
                <a:lnTo>
                  <a:pt x="3191952" y="65751"/>
                </a:lnTo>
                <a:lnTo>
                  <a:pt x="3205913" y="83462"/>
                </a:lnTo>
                <a:lnTo>
                  <a:pt x="3262481" y="83462"/>
                </a:lnTo>
                <a:lnTo>
                  <a:pt x="3281050" y="68136"/>
                </a:lnTo>
                <a:lnTo>
                  <a:pt x="3299620" y="83462"/>
                </a:lnTo>
                <a:lnTo>
                  <a:pt x="3339065" y="83462"/>
                </a:lnTo>
                <a:lnTo>
                  <a:pt x="3339065" y="0"/>
                </a:lnTo>
                <a:lnTo>
                  <a:pt x="3789560" y="0"/>
                </a:lnTo>
                <a:lnTo>
                  <a:pt x="3855243" y="0"/>
                </a:lnTo>
                <a:lnTo>
                  <a:pt x="3861568" y="0"/>
                </a:lnTo>
                <a:lnTo>
                  <a:pt x="3861568" y="5119688"/>
                </a:lnTo>
                <a:lnTo>
                  <a:pt x="3855243" y="5119688"/>
                </a:lnTo>
                <a:lnTo>
                  <a:pt x="3789560" y="5119688"/>
                </a:lnTo>
                <a:lnTo>
                  <a:pt x="0" y="51196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080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52727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oster Schrä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97A520E-F79B-4620-A07C-2D4D0204338A}"/>
              </a:ext>
            </a:extLst>
          </p:cNvPr>
          <p:cNvSpPr/>
          <p:nvPr userDrawn="1"/>
        </p:nvSpPr>
        <p:spPr bwMode="grayWhite">
          <a:xfrm rot="10800000">
            <a:off x="0" y="3111848"/>
            <a:ext cx="9144000" cy="2036415"/>
          </a:xfrm>
          <a:custGeom>
            <a:avLst/>
            <a:gdLst>
              <a:gd name="connsiteX0" fmla="*/ 0 w 9144000"/>
              <a:gd name="connsiteY0" fmla="*/ 2036415 h 2036415"/>
              <a:gd name="connsiteX1" fmla="*/ 0 w 9144000"/>
              <a:gd name="connsiteY1" fmla="*/ 2031652 h 2036415"/>
              <a:gd name="connsiteX2" fmla="*/ 0 w 9144000"/>
              <a:gd name="connsiteY2" fmla="*/ 295797 h 2036415"/>
              <a:gd name="connsiteX3" fmla="*/ 0 w 9144000"/>
              <a:gd name="connsiteY3" fmla="*/ 291034 h 2036415"/>
              <a:gd name="connsiteX4" fmla="*/ 0 w 9144000"/>
              <a:gd name="connsiteY4" fmla="*/ 4763 h 2036415"/>
              <a:gd name="connsiteX5" fmla="*/ 0 w 9144000"/>
              <a:gd name="connsiteY5" fmla="*/ 0 h 2036415"/>
              <a:gd name="connsiteX6" fmla="*/ 9144000 w 9144000"/>
              <a:gd name="connsiteY6" fmla="*/ 0 h 2036415"/>
              <a:gd name="connsiteX7" fmla="*/ 9144000 w 9144000"/>
              <a:gd name="connsiteY7" fmla="*/ 4763 h 2036415"/>
              <a:gd name="connsiteX8" fmla="*/ 9144000 w 9144000"/>
              <a:gd name="connsiteY8" fmla="*/ 291034 h 2036415"/>
              <a:gd name="connsiteX9" fmla="*/ 9144000 w 9144000"/>
              <a:gd name="connsiteY9" fmla="*/ 295797 h 2036415"/>
              <a:gd name="connsiteX10" fmla="*/ 9144000 w 9144000"/>
              <a:gd name="connsiteY10" fmla="*/ 908910 h 2036415"/>
              <a:gd name="connsiteX11" fmla="*/ 9144000 w 9144000"/>
              <a:gd name="connsiteY11" fmla="*/ 913673 h 2036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2036415">
                <a:moveTo>
                  <a:pt x="0" y="2036415"/>
                </a:moveTo>
                <a:lnTo>
                  <a:pt x="0" y="2031652"/>
                </a:lnTo>
                <a:lnTo>
                  <a:pt x="0" y="295797"/>
                </a:lnTo>
                <a:lnTo>
                  <a:pt x="0" y="291034"/>
                </a:lnTo>
                <a:lnTo>
                  <a:pt x="0" y="4763"/>
                </a:lnTo>
                <a:lnTo>
                  <a:pt x="0" y="0"/>
                </a:lnTo>
                <a:lnTo>
                  <a:pt x="9144000" y="0"/>
                </a:lnTo>
                <a:lnTo>
                  <a:pt x="9144000" y="4763"/>
                </a:lnTo>
                <a:lnTo>
                  <a:pt x="9144000" y="291034"/>
                </a:lnTo>
                <a:lnTo>
                  <a:pt x="9144000" y="295797"/>
                </a:lnTo>
                <a:lnTo>
                  <a:pt x="9144000" y="908910"/>
                </a:lnTo>
                <a:lnTo>
                  <a:pt x="9144000" y="913673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144000" indent="-144000" algn="l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de-DE" sz="1100" noProof="1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70661" y="1240870"/>
            <a:ext cx="3993389" cy="35263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470661" y="555627"/>
            <a:ext cx="3993389" cy="468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Titelmasterformat durch Klicken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White">
          <a:xfrm>
            <a:off x="470661" y="269743"/>
            <a:ext cx="3993390" cy="1386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de-DE" noProof="1"/>
              <a:t>BVR Fußzei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BD2F8FEF-30B6-47F5-89BE-EFED81A37DBC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16F4E9A-3B8C-4AA9-8964-BF757E25CE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402"/>
          <a:stretch/>
        </p:blipFill>
        <p:spPr bwMode="gray">
          <a:xfrm>
            <a:off x="4679950" y="0"/>
            <a:ext cx="4464051" cy="5143499"/>
          </a:xfrm>
          <a:prstGeom prst="rect">
            <a:avLst/>
          </a:prstGeom>
        </p:spPr>
      </p:pic>
      <p:sp>
        <p:nvSpPr>
          <p:cNvPr id="13" name="Bildplatzhalter 25">
            <a:extLst>
              <a:ext uri="{FF2B5EF4-FFF2-40B4-BE49-F238E27FC236}">
                <a16:creationId xmlns:a16="http://schemas.microsoft.com/office/drawing/2014/main" id="{A5DBFF17-2920-4998-8ED4-54456C0B8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4582" y="767428"/>
            <a:ext cx="2834111" cy="3759571"/>
          </a:xfrm>
          <a:custGeom>
            <a:avLst/>
            <a:gdLst>
              <a:gd name="connsiteX0" fmla="*/ 0 w 3861568"/>
              <a:gd name="connsiteY0" fmla="*/ 0 h 5119688"/>
              <a:gd name="connsiteX1" fmla="*/ 526906 w 3861568"/>
              <a:gd name="connsiteY1" fmla="*/ 0 h 5119688"/>
              <a:gd name="connsiteX2" fmla="*/ 526906 w 3861568"/>
              <a:gd name="connsiteY2" fmla="*/ 83462 h 5119688"/>
              <a:gd name="connsiteX3" fmla="*/ 568489 w 3861568"/>
              <a:gd name="connsiteY3" fmla="*/ 83462 h 5119688"/>
              <a:gd name="connsiteX4" fmla="*/ 582451 w 3861568"/>
              <a:gd name="connsiteY4" fmla="*/ 65751 h 5119688"/>
              <a:gd name="connsiteX5" fmla="*/ 596412 w 3861568"/>
              <a:gd name="connsiteY5" fmla="*/ 83462 h 5119688"/>
              <a:gd name="connsiteX6" fmla="*/ 652980 w 3861568"/>
              <a:gd name="connsiteY6" fmla="*/ 83462 h 5119688"/>
              <a:gd name="connsiteX7" fmla="*/ 671549 w 3861568"/>
              <a:gd name="connsiteY7" fmla="*/ 68136 h 5119688"/>
              <a:gd name="connsiteX8" fmla="*/ 690119 w 3861568"/>
              <a:gd name="connsiteY8" fmla="*/ 83462 h 5119688"/>
              <a:gd name="connsiteX9" fmla="*/ 729563 w 3861568"/>
              <a:gd name="connsiteY9" fmla="*/ 83462 h 5119688"/>
              <a:gd name="connsiteX10" fmla="*/ 729563 w 3861568"/>
              <a:gd name="connsiteY10" fmla="*/ 0 h 5119688"/>
              <a:gd name="connsiteX11" fmla="*/ 3136407 w 3861568"/>
              <a:gd name="connsiteY11" fmla="*/ 0 h 5119688"/>
              <a:gd name="connsiteX12" fmla="*/ 3136407 w 3861568"/>
              <a:gd name="connsiteY12" fmla="*/ 83462 h 5119688"/>
              <a:gd name="connsiteX13" fmla="*/ 3177991 w 3861568"/>
              <a:gd name="connsiteY13" fmla="*/ 83462 h 5119688"/>
              <a:gd name="connsiteX14" fmla="*/ 3191952 w 3861568"/>
              <a:gd name="connsiteY14" fmla="*/ 65751 h 5119688"/>
              <a:gd name="connsiteX15" fmla="*/ 3205913 w 3861568"/>
              <a:gd name="connsiteY15" fmla="*/ 83462 h 5119688"/>
              <a:gd name="connsiteX16" fmla="*/ 3262481 w 3861568"/>
              <a:gd name="connsiteY16" fmla="*/ 83462 h 5119688"/>
              <a:gd name="connsiteX17" fmla="*/ 3281050 w 3861568"/>
              <a:gd name="connsiteY17" fmla="*/ 68136 h 5119688"/>
              <a:gd name="connsiteX18" fmla="*/ 3299620 w 3861568"/>
              <a:gd name="connsiteY18" fmla="*/ 83462 h 5119688"/>
              <a:gd name="connsiteX19" fmla="*/ 3339065 w 3861568"/>
              <a:gd name="connsiteY19" fmla="*/ 83462 h 5119688"/>
              <a:gd name="connsiteX20" fmla="*/ 3339065 w 3861568"/>
              <a:gd name="connsiteY20" fmla="*/ 0 h 5119688"/>
              <a:gd name="connsiteX21" fmla="*/ 3789560 w 3861568"/>
              <a:gd name="connsiteY21" fmla="*/ 0 h 5119688"/>
              <a:gd name="connsiteX22" fmla="*/ 3855243 w 3861568"/>
              <a:gd name="connsiteY22" fmla="*/ 0 h 5119688"/>
              <a:gd name="connsiteX23" fmla="*/ 3861568 w 3861568"/>
              <a:gd name="connsiteY23" fmla="*/ 0 h 5119688"/>
              <a:gd name="connsiteX24" fmla="*/ 3861568 w 3861568"/>
              <a:gd name="connsiteY24" fmla="*/ 5119688 h 5119688"/>
              <a:gd name="connsiteX25" fmla="*/ 3855243 w 3861568"/>
              <a:gd name="connsiteY25" fmla="*/ 5119688 h 5119688"/>
              <a:gd name="connsiteX26" fmla="*/ 3789560 w 3861568"/>
              <a:gd name="connsiteY26" fmla="*/ 5119688 h 5119688"/>
              <a:gd name="connsiteX27" fmla="*/ 0 w 3861568"/>
              <a:gd name="connsiteY27" fmla="*/ 5119688 h 5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61568" h="5119688">
                <a:moveTo>
                  <a:pt x="0" y="0"/>
                </a:moveTo>
                <a:lnTo>
                  <a:pt x="526906" y="0"/>
                </a:lnTo>
                <a:lnTo>
                  <a:pt x="526906" y="83462"/>
                </a:lnTo>
                <a:lnTo>
                  <a:pt x="568489" y="83462"/>
                </a:lnTo>
                <a:lnTo>
                  <a:pt x="582451" y="65751"/>
                </a:lnTo>
                <a:lnTo>
                  <a:pt x="596412" y="83462"/>
                </a:lnTo>
                <a:lnTo>
                  <a:pt x="652980" y="83462"/>
                </a:lnTo>
                <a:lnTo>
                  <a:pt x="671549" y="68136"/>
                </a:lnTo>
                <a:lnTo>
                  <a:pt x="690119" y="83462"/>
                </a:lnTo>
                <a:lnTo>
                  <a:pt x="729563" y="83462"/>
                </a:lnTo>
                <a:lnTo>
                  <a:pt x="729563" y="0"/>
                </a:lnTo>
                <a:lnTo>
                  <a:pt x="3136407" y="0"/>
                </a:lnTo>
                <a:lnTo>
                  <a:pt x="3136407" y="83462"/>
                </a:lnTo>
                <a:lnTo>
                  <a:pt x="3177991" y="83462"/>
                </a:lnTo>
                <a:lnTo>
                  <a:pt x="3191952" y="65751"/>
                </a:lnTo>
                <a:lnTo>
                  <a:pt x="3205913" y="83462"/>
                </a:lnTo>
                <a:lnTo>
                  <a:pt x="3262481" y="83462"/>
                </a:lnTo>
                <a:lnTo>
                  <a:pt x="3281050" y="68136"/>
                </a:lnTo>
                <a:lnTo>
                  <a:pt x="3299620" y="83462"/>
                </a:lnTo>
                <a:lnTo>
                  <a:pt x="3339065" y="83462"/>
                </a:lnTo>
                <a:lnTo>
                  <a:pt x="3339065" y="0"/>
                </a:lnTo>
                <a:lnTo>
                  <a:pt x="3789560" y="0"/>
                </a:lnTo>
                <a:lnTo>
                  <a:pt x="3855243" y="0"/>
                </a:lnTo>
                <a:lnTo>
                  <a:pt x="3861568" y="0"/>
                </a:lnTo>
                <a:lnTo>
                  <a:pt x="3861568" y="5119688"/>
                </a:lnTo>
                <a:lnTo>
                  <a:pt x="3855243" y="5119688"/>
                </a:lnTo>
                <a:lnTo>
                  <a:pt x="3789560" y="5119688"/>
                </a:lnTo>
                <a:lnTo>
                  <a:pt x="0" y="51196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1080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347817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Außenwerbung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draußen, Regen, Straße enthält.&#10;&#10;Automatisch generierte Beschreibung">
            <a:extLst>
              <a:ext uri="{FF2B5EF4-FFF2-40B4-BE49-F238E27FC236}">
                <a16:creationId xmlns:a16="http://schemas.microsoft.com/office/drawing/2014/main" id="{E6320ECD-A15B-4F03-8F9F-DC6BEBD4BE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89794" y="0"/>
            <a:ext cx="7054206" cy="5144944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64BD9606-1DF8-467E-8722-C70FEDCEEA1E}"/>
              </a:ext>
            </a:extLst>
          </p:cNvPr>
          <p:cNvSpPr/>
          <p:nvPr userDrawn="1"/>
        </p:nvSpPr>
        <p:spPr bwMode="gray">
          <a:xfrm>
            <a:off x="-1154" y="4587873"/>
            <a:ext cx="9145154" cy="555626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8000"/>
                </a:schemeClr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CFD4A83-EDBF-4BD5-9B2A-735487ACC636}"/>
              </a:ext>
            </a:extLst>
          </p:cNvPr>
          <p:cNvSpPr/>
          <p:nvPr userDrawn="1"/>
        </p:nvSpPr>
        <p:spPr bwMode="blackGray">
          <a:xfrm>
            <a:off x="-1153" y="-1444"/>
            <a:ext cx="3277753" cy="5144944"/>
          </a:xfrm>
          <a:custGeom>
            <a:avLst/>
            <a:gdLst>
              <a:gd name="connsiteX0" fmla="*/ 0 w 3276600"/>
              <a:gd name="connsiteY0" fmla="*/ 0 h 5143134"/>
              <a:gd name="connsiteX1" fmla="*/ 3276600 w 3276600"/>
              <a:gd name="connsiteY1" fmla="*/ 0 h 5143134"/>
              <a:gd name="connsiteX2" fmla="*/ 2645320 w 3276600"/>
              <a:gd name="connsiteY2" fmla="*/ 5143134 h 5143134"/>
              <a:gd name="connsiteX3" fmla="*/ 0 w 3276600"/>
              <a:gd name="connsiteY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5143134">
                <a:moveTo>
                  <a:pt x="0" y="0"/>
                </a:moveTo>
                <a:lnTo>
                  <a:pt x="3276600" y="0"/>
                </a:lnTo>
                <a:lnTo>
                  <a:pt x="264532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168C799B-C211-4076-96D9-3D528143B2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824730" y="679450"/>
            <a:ext cx="2229476" cy="3182244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26256 w 11136312"/>
              <a:gd name="connsiteY5" fmla="*/ 27126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25685 w 11136312"/>
              <a:gd name="connsiteY5" fmla="*/ 15501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65913 w 11136312"/>
              <a:gd name="connsiteY5" fmla="*/ 46502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86024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16196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136312" h="6308725">
                <a:moveTo>
                  <a:pt x="0" y="0"/>
                </a:moveTo>
                <a:lnTo>
                  <a:pt x="471320" y="0"/>
                </a:lnTo>
                <a:lnTo>
                  <a:pt x="635119" y="0"/>
                </a:lnTo>
                <a:lnTo>
                  <a:pt x="5238997" y="0"/>
                </a:lnTo>
                <a:lnTo>
                  <a:pt x="6061398" y="0"/>
                </a:lnTo>
                <a:lnTo>
                  <a:pt x="11116196" y="19375"/>
                </a:lnTo>
                <a:lnTo>
                  <a:pt x="11136312" y="1088138"/>
                </a:lnTo>
                <a:lnTo>
                  <a:pt x="11136312" y="1628775"/>
                </a:lnTo>
                <a:lnTo>
                  <a:pt x="11136312" y="6308725"/>
                </a:lnTo>
                <a:lnTo>
                  <a:pt x="6480312" y="6308725"/>
                </a:lnTo>
                <a:lnTo>
                  <a:pt x="6095999" y="6308725"/>
                </a:lnTo>
                <a:lnTo>
                  <a:pt x="0" y="630872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792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0185C9-8355-4E93-880B-4BB6B7F14C64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E4AE3A0-1F88-46A1-82C8-0E34C29781C4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44A765F3-8141-4719-88AE-F0E273A1BE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3DF6EE2B-3DF4-488A-83B5-46B7DBB7E4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2588452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1883C9-2911-417B-BECA-D06F93D6B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661" y="555627"/>
            <a:ext cx="2588452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  <a:endParaRPr lang="de-DE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3635A7E9-4D4E-4959-97EA-0B3DD12C56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1"/>
            <a:ext cx="2588451" cy="3526392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84ED21F1-B5F3-402F-BBE4-A69B6BB13C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grpSp>
        <p:nvGrpSpPr>
          <p:cNvPr id="23" name="Group 5">
            <a:extLst>
              <a:ext uri="{FF2B5EF4-FFF2-40B4-BE49-F238E27FC236}">
                <a16:creationId xmlns:a16="http://schemas.microsoft.com/office/drawing/2014/main" id="{7E1DD35D-4C1C-4B65-A895-DDF9CDF92E9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96F7A898-6B1D-4BEF-B0E2-EC19C0A4888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FA8C88-F61C-454C-8679-95B04B4635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23914F07-2CA8-40B7-992E-4E689CA978C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28EFE29-482C-4AC0-BCA4-EF839D16B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</p:spTree>
    <p:extLst>
      <p:ext uri="{BB962C8B-B14F-4D97-AF65-F5344CB8AC3E}">
        <p14:creationId xmlns:p14="http://schemas.microsoft.com/office/powerpoint/2010/main" val="245823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Außenwerbung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7" descr="Ein Bild, das draußen, Gebäude, Straße, Bank enthält.&#10;&#10;Automatisch generierte Beschreibung">
            <a:extLst>
              <a:ext uri="{FF2B5EF4-FFF2-40B4-BE49-F238E27FC236}">
                <a16:creationId xmlns:a16="http://schemas.microsoft.com/office/drawing/2014/main" id="{A2598B21-1DC3-4D13-9DD9-51EE1B5C55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1691679" y="0"/>
            <a:ext cx="7452319" cy="5143499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013128C-4A6C-46C0-B1F5-1011425A34F3}"/>
              </a:ext>
            </a:extLst>
          </p:cNvPr>
          <p:cNvSpPr/>
          <p:nvPr userDrawn="1"/>
        </p:nvSpPr>
        <p:spPr bwMode="gray">
          <a:xfrm>
            <a:off x="-1154" y="4587873"/>
            <a:ext cx="9145154" cy="555626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8000"/>
                </a:schemeClr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F4E3ECB5-ED47-456A-9B28-0F384D7470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81750" y="1468254"/>
            <a:ext cx="1731169" cy="2545160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26256 w 11136312"/>
              <a:gd name="connsiteY5" fmla="*/ 27126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25685 w 11136312"/>
              <a:gd name="connsiteY5" fmla="*/ 15501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65913 w 11136312"/>
              <a:gd name="connsiteY5" fmla="*/ 46502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86024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16196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136312" h="6308725">
                <a:moveTo>
                  <a:pt x="0" y="0"/>
                </a:moveTo>
                <a:lnTo>
                  <a:pt x="471320" y="0"/>
                </a:lnTo>
                <a:lnTo>
                  <a:pt x="635119" y="0"/>
                </a:lnTo>
                <a:lnTo>
                  <a:pt x="5238997" y="0"/>
                </a:lnTo>
                <a:lnTo>
                  <a:pt x="6061398" y="0"/>
                </a:lnTo>
                <a:lnTo>
                  <a:pt x="11116196" y="19375"/>
                </a:lnTo>
                <a:lnTo>
                  <a:pt x="11136312" y="1088138"/>
                </a:lnTo>
                <a:lnTo>
                  <a:pt x="11136312" y="1628775"/>
                </a:lnTo>
                <a:lnTo>
                  <a:pt x="11136312" y="6308725"/>
                </a:lnTo>
                <a:lnTo>
                  <a:pt x="6480312" y="6308725"/>
                </a:lnTo>
                <a:lnTo>
                  <a:pt x="6095999" y="6308725"/>
                </a:lnTo>
                <a:lnTo>
                  <a:pt x="0" y="630872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540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auf </a:t>
            </a:r>
            <a:br>
              <a:rPr lang="de-DE"/>
            </a:br>
            <a:r>
              <a:rPr lang="de-DE"/>
              <a:t>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 </a:t>
            </a:r>
            <a:br>
              <a:rPr lang="de-DE"/>
            </a:br>
            <a:r>
              <a:rPr lang="de-DE"/>
              <a:t>klicken Sie einfügen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FB0FB1B7-CF96-4211-891B-3A1CC705C38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12260" y="1527493"/>
            <a:ext cx="1132916" cy="1457007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61527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230726 w 11136312"/>
              <a:gd name="connsiteY11" fmla="*/ 6288417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61527 w 11136312"/>
              <a:gd name="connsiteY11" fmla="*/ 6308722 h 6308725"/>
              <a:gd name="connsiteX12" fmla="*/ 0 w 11136312"/>
              <a:gd name="connsiteY12" fmla="*/ 0 h 6308725"/>
              <a:gd name="connsiteX0" fmla="*/ 0 w 11136312"/>
              <a:gd name="connsiteY0" fmla="*/ 0 h 6322262"/>
              <a:gd name="connsiteX1" fmla="*/ 471320 w 11136312"/>
              <a:gd name="connsiteY1" fmla="*/ 0 h 6322262"/>
              <a:gd name="connsiteX2" fmla="*/ 635119 w 11136312"/>
              <a:gd name="connsiteY2" fmla="*/ 0 h 6322262"/>
              <a:gd name="connsiteX3" fmla="*/ 5238997 w 11136312"/>
              <a:gd name="connsiteY3" fmla="*/ 0 h 6322262"/>
              <a:gd name="connsiteX4" fmla="*/ 6061398 w 11136312"/>
              <a:gd name="connsiteY4" fmla="*/ 0 h 6322262"/>
              <a:gd name="connsiteX5" fmla="*/ 11136312 w 11136312"/>
              <a:gd name="connsiteY5" fmla="*/ 0 h 6322262"/>
              <a:gd name="connsiteX6" fmla="*/ 11136312 w 11136312"/>
              <a:gd name="connsiteY6" fmla="*/ 1088138 h 6322262"/>
              <a:gd name="connsiteX7" fmla="*/ 11136312 w 11136312"/>
              <a:gd name="connsiteY7" fmla="*/ 1628775 h 6322262"/>
              <a:gd name="connsiteX8" fmla="*/ 11136312 w 11136312"/>
              <a:gd name="connsiteY8" fmla="*/ 6308725 h 6322262"/>
              <a:gd name="connsiteX9" fmla="*/ 6480312 w 11136312"/>
              <a:gd name="connsiteY9" fmla="*/ 6308725 h 6322262"/>
              <a:gd name="connsiteX10" fmla="*/ 6095999 w 11136312"/>
              <a:gd name="connsiteY10" fmla="*/ 6308725 h 6322262"/>
              <a:gd name="connsiteX11" fmla="*/ 61527 w 11136312"/>
              <a:gd name="connsiteY11" fmla="*/ 6322262 h 6322262"/>
              <a:gd name="connsiteX12" fmla="*/ 0 w 11136312"/>
              <a:gd name="connsiteY12" fmla="*/ 0 h 6322262"/>
              <a:gd name="connsiteX0" fmla="*/ 0 w 11136312"/>
              <a:gd name="connsiteY0" fmla="*/ 0 h 6322262"/>
              <a:gd name="connsiteX1" fmla="*/ 471320 w 11136312"/>
              <a:gd name="connsiteY1" fmla="*/ 0 h 6322262"/>
              <a:gd name="connsiteX2" fmla="*/ 635119 w 11136312"/>
              <a:gd name="connsiteY2" fmla="*/ 0 h 6322262"/>
              <a:gd name="connsiteX3" fmla="*/ 5238997 w 11136312"/>
              <a:gd name="connsiteY3" fmla="*/ 0 h 6322262"/>
              <a:gd name="connsiteX4" fmla="*/ 6061398 w 11136312"/>
              <a:gd name="connsiteY4" fmla="*/ 0 h 6322262"/>
              <a:gd name="connsiteX5" fmla="*/ 11136312 w 11136312"/>
              <a:gd name="connsiteY5" fmla="*/ 0 h 6322262"/>
              <a:gd name="connsiteX6" fmla="*/ 11136312 w 11136312"/>
              <a:gd name="connsiteY6" fmla="*/ 1088138 h 6322262"/>
              <a:gd name="connsiteX7" fmla="*/ 11136312 w 11136312"/>
              <a:gd name="connsiteY7" fmla="*/ 1628775 h 6322262"/>
              <a:gd name="connsiteX8" fmla="*/ 11013259 w 11136312"/>
              <a:gd name="connsiteY8" fmla="*/ 6295189 h 6322262"/>
              <a:gd name="connsiteX9" fmla="*/ 6480312 w 11136312"/>
              <a:gd name="connsiteY9" fmla="*/ 6308725 h 6322262"/>
              <a:gd name="connsiteX10" fmla="*/ 6095999 w 11136312"/>
              <a:gd name="connsiteY10" fmla="*/ 6308725 h 6322262"/>
              <a:gd name="connsiteX11" fmla="*/ 61527 w 11136312"/>
              <a:gd name="connsiteY11" fmla="*/ 6322262 h 6322262"/>
              <a:gd name="connsiteX12" fmla="*/ 0 w 11136312"/>
              <a:gd name="connsiteY12" fmla="*/ 0 h 6322262"/>
              <a:gd name="connsiteX0" fmla="*/ 0 w 11151692"/>
              <a:gd name="connsiteY0" fmla="*/ 0 h 6322262"/>
              <a:gd name="connsiteX1" fmla="*/ 471320 w 11151692"/>
              <a:gd name="connsiteY1" fmla="*/ 0 h 6322262"/>
              <a:gd name="connsiteX2" fmla="*/ 635119 w 11151692"/>
              <a:gd name="connsiteY2" fmla="*/ 0 h 6322262"/>
              <a:gd name="connsiteX3" fmla="*/ 5238997 w 11151692"/>
              <a:gd name="connsiteY3" fmla="*/ 0 h 6322262"/>
              <a:gd name="connsiteX4" fmla="*/ 6061398 w 11151692"/>
              <a:gd name="connsiteY4" fmla="*/ 0 h 6322262"/>
              <a:gd name="connsiteX5" fmla="*/ 11136312 w 11151692"/>
              <a:gd name="connsiteY5" fmla="*/ 0 h 6322262"/>
              <a:gd name="connsiteX6" fmla="*/ 11136312 w 11151692"/>
              <a:gd name="connsiteY6" fmla="*/ 1088138 h 6322262"/>
              <a:gd name="connsiteX7" fmla="*/ 11136312 w 11151692"/>
              <a:gd name="connsiteY7" fmla="*/ 1628775 h 6322262"/>
              <a:gd name="connsiteX8" fmla="*/ 11151692 w 11151692"/>
              <a:gd name="connsiteY8" fmla="*/ 6288420 h 6322262"/>
              <a:gd name="connsiteX9" fmla="*/ 6480312 w 11151692"/>
              <a:gd name="connsiteY9" fmla="*/ 6308725 h 6322262"/>
              <a:gd name="connsiteX10" fmla="*/ 6095999 w 11151692"/>
              <a:gd name="connsiteY10" fmla="*/ 6308725 h 6322262"/>
              <a:gd name="connsiteX11" fmla="*/ 61527 w 11151692"/>
              <a:gd name="connsiteY11" fmla="*/ 6322262 h 6322262"/>
              <a:gd name="connsiteX12" fmla="*/ 0 w 11151692"/>
              <a:gd name="connsiteY12" fmla="*/ 0 h 632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151692" h="6322262">
                <a:moveTo>
                  <a:pt x="0" y="0"/>
                </a:moveTo>
                <a:lnTo>
                  <a:pt x="471320" y="0"/>
                </a:lnTo>
                <a:lnTo>
                  <a:pt x="635119" y="0"/>
                </a:lnTo>
                <a:lnTo>
                  <a:pt x="5238997" y="0"/>
                </a:lnTo>
                <a:lnTo>
                  <a:pt x="6061398" y="0"/>
                </a:lnTo>
                <a:lnTo>
                  <a:pt x="11136312" y="0"/>
                </a:lnTo>
                <a:lnTo>
                  <a:pt x="11136312" y="1088138"/>
                </a:lnTo>
                <a:lnTo>
                  <a:pt x="11136312" y="1628775"/>
                </a:lnTo>
                <a:cubicBezTo>
                  <a:pt x="11141439" y="3181990"/>
                  <a:pt x="11146565" y="4735205"/>
                  <a:pt x="11151692" y="6288420"/>
                </a:cubicBezTo>
                <a:lnTo>
                  <a:pt x="6480312" y="6308725"/>
                </a:lnTo>
                <a:lnTo>
                  <a:pt x="6095999" y="6308725"/>
                </a:lnTo>
                <a:lnTo>
                  <a:pt x="61527" y="6322262"/>
                </a:lnTo>
                <a:cubicBezTo>
                  <a:pt x="61527" y="4219354"/>
                  <a:pt x="0" y="2102908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bIns="144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5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auf </a:t>
            </a:r>
            <a:br>
              <a:rPr lang="de-DE"/>
            </a:br>
            <a:r>
              <a:rPr lang="de-DE"/>
              <a:t>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 klicken Sie einfügen. 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CFD4A83-EDBF-4BD5-9B2A-735487ACC636}"/>
              </a:ext>
            </a:extLst>
          </p:cNvPr>
          <p:cNvSpPr/>
          <p:nvPr userDrawn="1"/>
        </p:nvSpPr>
        <p:spPr bwMode="blackGray">
          <a:xfrm>
            <a:off x="-1153" y="-1444"/>
            <a:ext cx="3277753" cy="5144944"/>
          </a:xfrm>
          <a:custGeom>
            <a:avLst/>
            <a:gdLst>
              <a:gd name="connsiteX0" fmla="*/ 0 w 3276600"/>
              <a:gd name="connsiteY0" fmla="*/ 0 h 5143134"/>
              <a:gd name="connsiteX1" fmla="*/ 3276600 w 3276600"/>
              <a:gd name="connsiteY1" fmla="*/ 0 h 5143134"/>
              <a:gd name="connsiteX2" fmla="*/ 2645320 w 3276600"/>
              <a:gd name="connsiteY2" fmla="*/ 5143134 h 5143134"/>
              <a:gd name="connsiteX3" fmla="*/ 0 w 3276600"/>
              <a:gd name="connsiteY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5143134">
                <a:moveTo>
                  <a:pt x="0" y="0"/>
                </a:moveTo>
                <a:lnTo>
                  <a:pt x="3276600" y="0"/>
                </a:lnTo>
                <a:lnTo>
                  <a:pt x="264532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0185C9-8355-4E93-880B-4BB6B7F14C64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9868C12C-72E4-48C4-B81E-A769DAF80468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3DF6EE2B-3DF4-488A-83B5-46B7DBB7E4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2588452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1883C9-2911-417B-BECA-D06F93D6B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661" y="555627"/>
            <a:ext cx="2588452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  <a:endParaRPr lang="de-DE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3635A7E9-4D4E-4959-97EA-0B3DD12C56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1"/>
            <a:ext cx="2588451" cy="3526392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84ED21F1-B5F3-402F-BBE4-A69B6BB13C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grpSp>
        <p:nvGrpSpPr>
          <p:cNvPr id="14" name="Group 5">
            <a:extLst>
              <a:ext uri="{FF2B5EF4-FFF2-40B4-BE49-F238E27FC236}">
                <a16:creationId xmlns:a16="http://schemas.microsoft.com/office/drawing/2014/main" id="{3666CF1E-34CB-433A-8C39-8DD599378D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id="{EE07E987-EADC-48AA-83D7-D5B78180107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C82FD29-0F18-4608-B4DC-6CECA0CB4A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24720C53-3440-432C-B2A5-B59F2C7B6FA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BD0A473A-53AC-42FC-B5FB-A554EB83F4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44A765F3-8141-4719-88AE-F0E273A1BE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</p:spTree>
    <p:extLst>
      <p:ext uri="{BB962C8B-B14F-4D97-AF65-F5344CB8AC3E}">
        <p14:creationId xmlns:p14="http://schemas.microsoft.com/office/powerpoint/2010/main" val="312551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Außenwerbung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Text, draußen, Straße enthält.&#10;&#10;Automatisch generierte Beschreibung">
            <a:extLst>
              <a:ext uri="{FF2B5EF4-FFF2-40B4-BE49-F238E27FC236}">
                <a16:creationId xmlns:a16="http://schemas.microsoft.com/office/drawing/2014/main" id="{B8670228-CD4E-4BBA-9B90-0B2116D8D2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2608" y="0"/>
            <a:ext cx="7711392" cy="5143499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64BD9606-1DF8-467E-8722-C70FEDCEEA1E}"/>
              </a:ext>
            </a:extLst>
          </p:cNvPr>
          <p:cNvSpPr/>
          <p:nvPr userDrawn="1"/>
        </p:nvSpPr>
        <p:spPr bwMode="gray">
          <a:xfrm>
            <a:off x="-1154" y="4083918"/>
            <a:ext cx="9145154" cy="105958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45100">
                <a:srgbClr val="000000">
                  <a:alpha val="0"/>
                </a:srgbClr>
              </a:gs>
              <a:gs pos="100000">
                <a:schemeClr val="tx1">
                  <a:alpha val="26000"/>
                </a:schemeClr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CFD4A83-EDBF-4BD5-9B2A-735487ACC636}"/>
              </a:ext>
            </a:extLst>
          </p:cNvPr>
          <p:cNvSpPr/>
          <p:nvPr userDrawn="1"/>
        </p:nvSpPr>
        <p:spPr bwMode="blackGray">
          <a:xfrm>
            <a:off x="-1153" y="-1444"/>
            <a:ext cx="3277753" cy="5144944"/>
          </a:xfrm>
          <a:custGeom>
            <a:avLst/>
            <a:gdLst>
              <a:gd name="connsiteX0" fmla="*/ 0 w 3276600"/>
              <a:gd name="connsiteY0" fmla="*/ 0 h 5143134"/>
              <a:gd name="connsiteX1" fmla="*/ 3276600 w 3276600"/>
              <a:gd name="connsiteY1" fmla="*/ 0 h 5143134"/>
              <a:gd name="connsiteX2" fmla="*/ 2645320 w 3276600"/>
              <a:gd name="connsiteY2" fmla="*/ 5143134 h 5143134"/>
              <a:gd name="connsiteX3" fmla="*/ 0 w 3276600"/>
              <a:gd name="connsiteY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5143134">
                <a:moveTo>
                  <a:pt x="0" y="0"/>
                </a:moveTo>
                <a:lnTo>
                  <a:pt x="3276600" y="0"/>
                </a:lnTo>
                <a:lnTo>
                  <a:pt x="264532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168C799B-C211-4076-96D9-3D528143B2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343525" y="988218"/>
            <a:ext cx="2285999" cy="3350419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26256 w 11136312"/>
              <a:gd name="connsiteY5" fmla="*/ 27126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25685 w 11136312"/>
              <a:gd name="connsiteY5" fmla="*/ 15501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65913 w 11136312"/>
              <a:gd name="connsiteY5" fmla="*/ 46502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86024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16196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1088138 h 6308725"/>
              <a:gd name="connsiteX7" fmla="*/ 11136312 w 11354086"/>
              <a:gd name="connsiteY7" fmla="*/ 1628775 h 6308725"/>
              <a:gd name="connsiteX8" fmla="*/ 11136312 w 11354086"/>
              <a:gd name="connsiteY8" fmla="*/ 6308725 h 6308725"/>
              <a:gd name="connsiteX9" fmla="*/ 6480312 w 11354086"/>
              <a:gd name="connsiteY9" fmla="*/ 6308725 h 6308725"/>
              <a:gd name="connsiteX10" fmla="*/ 6095999 w 11354086"/>
              <a:gd name="connsiteY10" fmla="*/ 6308725 h 6308725"/>
              <a:gd name="connsiteX11" fmla="*/ 0 w 11354086"/>
              <a:gd name="connsiteY11" fmla="*/ 6308725 h 6308725"/>
              <a:gd name="connsiteX12" fmla="*/ 0 w 11354086"/>
              <a:gd name="connsiteY12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1628775 h 6308725"/>
              <a:gd name="connsiteX7" fmla="*/ 11136312 w 11354086"/>
              <a:gd name="connsiteY7" fmla="*/ 6308725 h 6308725"/>
              <a:gd name="connsiteX8" fmla="*/ 6480312 w 11354086"/>
              <a:gd name="connsiteY8" fmla="*/ 6308725 h 6308725"/>
              <a:gd name="connsiteX9" fmla="*/ 6095999 w 11354086"/>
              <a:gd name="connsiteY9" fmla="*/ 6308725 h 6308725"/>
              <a:gd name="connsiteX10" fmla="*/ 0 w 11354086"/>
              <a:gd name="connsiteY10" fmla="*/ 6308725 h 6308725"/>
              <a:gd name="connsiteX11" fmla="*/ 0 w 11354086"/>
              <a:gd name="connsiteY11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6308725 h 6308725"/>
              <a:gd name="connsiteX7" fmla="*/ 6480312 w 11354086"/>
              <a:gd name="connsiteY7" fmla="*/ 6308725 h 6308725"/>
              <a:gd name="connsiteX8" fmla="*/ 6095999 w 11354086"/>
              <a:gd name="connsiteY8" fmla="*/ 6308725 h 6308725"/>
              <a:gd name="connsiteX9" fmla="*/ 0 w 11354086"/>
              <a:gd name="connsiteY9" fmla="*/ 6308725 h 6308725"/>
              <a:gd name="connsiteX10" fmla="*/ 0 w 11354086"/>
              <a:gd name="connsiteY10" fmla="*/ 0 h 6308725"/>
              <a:gd name="connsiteX0" fmla="*/ 0 w 11369945"/>
              <a:gd name="connsiteY0" fmla="*/ 0 h 6308725"/>
              <a:gd name="connsiteX1" fmla="*/ 487179 w 11369945"/>
              <a:gd name="connsiteY1" fmla="*/ 0 h 6308725"/>
              <a:gd name="connsiteX2" fmla="*/ 650978 w 11369945"/>
              <a:gd name="connsiteY2" fmla="*/ 0 h 6308725"/>
              <a:gd name="connsiteX3" fmla="*/ 5254856 w 11369945"/>
              <a:gd name="connsiteY3" fmla="*/ 0 h 6308725"/>
              <a:gd name="connsiteX4" fmla="*/ 6077257 w 11369945"/>
              <a:gd name="connsiteY4" fmla="*/ 0 h 6308725"/>
              <a:gd name="connsiteX5" fmla="*/ 11369945 w 11369945"/>
              <a:gd name="connsiteY5" fmla="*/ 19375 h 6308725"/>
              <a:gd name="connsiteX6" fmla="*/ 11152171 w 11369945"/>
              <a:gd name="connsiteY6" fmla="*/ 6308725 h 6308725"/>
              <a:gd name="connsiteX7" fmla="*/ 6496171 w 11369945"/>
              <a:gd name="connsiteY7" fmla="*/ 6308725 h 6308725"/>
              <a:gd name="connsiteX8" fmla="*/ 6111858 w 11369945"/>
              <a:gd name="connsiteY8" fmla="*/ 6308725 h 6308725"/>
              <a:gd name="connsiteX9" fmla="*/ 15859 w 11369945"/>
              <a:gd name="connsiteY9" fmla="*/ 6308725 h 6308725"/>
              <a:gd name="connsiteX10" fmla="*/ 0 w 11369945"/>
              <a:gd name="connsiteY10" fmla="*/ 0 h 6308725"/>
              <a:gd name="connsiteX0" fmla="*/ 0 w 11369945"/>
              <a:gd name="connsiteY0" fmla="*/ 0 h 6308725"/>
              <a:gd name="connsiteX1" fmla="*/ 650978 w 11369945"/>
              <a:gd name="connsiteY1" fmla="*/ 0 h 6308725"/>
              <a:gd name="connsiteX2" fmla="*/ 5254856 w 11369945"/>
              <a:gd name="connsiteY2" fmla="*/ 0 h 6308725"/>
              <a:gd name="connsiteX3" fmla="*/ 6077257 w 11369945"/>
              <a:gd name="connsiteY3" fmla="*/ 0 h 6308725"/>
              <a:gd name="connsiteX4" fmla="*/ 11369945 w 11369945"/>
              <a:gd name="connsiteY4" fmla="*/ 19375 h 6308725"/>
              <a:gd name="connsiteX5" fmla="*/ 11152171 w 11369945"/>
              <a:gd name="connsiteY5" fmla="*/ 6308725 h 6308725"/>
              <a:gd name="connsiteX6" fmla="*/ 6496171 w 11369945"/>
              <a:gd name="connsiteY6" fmla="*/ 6308725 h 6308725"/>
              <a:gd name="connsiteX7" fmla="*/ 6111858 w 11369945"/>
              <a:gd name="connsiteY7" fmla="*/ 6308725 h 6308725"/>
              <a:gd name="connsiteX8" fmla="*/ 15859 w 11369945"/>
              <a:gd name="connsiteY8" fmla="*/ 6308725 h 6308725"/>
              <a:gd name="connsiteX9" fmla="*/ 0 w 11369945"/>
              <a:gd name="connsiteY9" fmla="*/ 0 h 6308725"/>
              <a:gd name="connsiteX0" fmla="*/ 0 w 11369945"/>
              <a:gd name="connsiteY0" fmla="*/ 0 h 6308725"/>
              <a:gd name="connsiteX1" fmla="*/ 5254856 w 11369945"/>
              <a:gd name="connsiteY1" fmla="*/ 0 h 6308725"/>
              <a:gd name="connsiteX2" fmla="*/ 6077257 w 11369945"/>
              <a:gd name="connsiteY2" fmla="*/ 0 h 6308725"/>
              <a:gd name="connsiteX3" fmla="*/ 11369945 w 11369945"/>
              <a:gd name="connsiteY3" fmla="*/ 19375 h 6308725"/>
              <a:gd name="connsiteX4" fmla="*/ 11152171 w 11369945"/>
              <a:gd name="connsiteY4" fmla="*/ 6308725 h 6308725"/>
              <a:gd name="connsiteX5" fmla="*/ 6496171 w 11369945"/>
              <a:gd name="connsiteY5" fmla="*/ 6308725 h 6308725"/>
              <a:gd name="connsiteX6" fmla="*/ 6111858 w 11369945"/>
              <a:gd name="connsiteY6" fmla="*/ 6308725 h 6308725"/>
              <a:gd name="connsiteX7" fmla="*/ 15859 w 11369945"/>
              <a:gd name="connsiteY7" fmla="*/ 6308725 h 6308725"/>
              <a:gd name="connsiteX8" fmla="*/ 0 w 11369945"/>
              <a:gd name="connsiteY8" fmla="*/ 0 h 6308725"/>
              <a:gd name="connsiteX0" fmla="*/ 0 w 11369945"/>
              <a:gd name="connsiteY0" fmla="*/ 0 h 6308725"/>
              <a:gd name="connsiteX1" fmla="*/ 6077257 w 11369945"/>
              <a:gd name="connsiteY1" fmla="*/ 0 h 6308725"/>
              <a:gd name="connsiteX2" fmla="*/ 11369945 w 11369945"/>
              <a:gd name="connsiteY2" fmla="*/ 19375 h 6308725"/>
              <a:gd name="connsiteX3" fmla="*/ 11152171 w 11369945"/>
              <a:gd name="connsiteY3" fmla="*/ 6308725 h 6308725"/>
              <a:gd name="connsiteX4" fmla="*/ 6496171 w 11369945"/>
              <a:gd name="connsiteY4" fmla="*/ 6308725 h 6308725"/>
              <a:gd name="connsiteX5" fmla="*/ 6111858 w 11369945"/>
              <a:gd name="connsiteY5" fmla="*/ 6308725 h 6308725"/>
              <a:gd name="connsiteX6" fmla="*/ 15859 w 11369945"/>
              <a:gd name="connsiteY6" fmla="*/ 6308725 h 6308725"/>
              <a:gd name="connsiteX7" fmla="*/ 0 w 11369945"/>
              <a:gd name="connsiteY7" fmla="*/ 0 h 6308725"/>
              <a:gd name="connsiteX0" fmla="*/ 0 w 11369945"/>
              <a:gd name="connsiteY0" fmla="*/ 0 h 6308725"/>
              <a:gd name="connsiteX1" fmla="*/ 11369945 w 11369945"/>
              <a:gd name="connsiteY1" fmla="*/ 19375 h 6308725"/>
              <a:gd name="connsiteX2" fmla="*/ 11152171 w 11369945"/>
              <a:gd name="connsiteY2" fmla="*/ 6308725 h 6308725"/>
              <a:gd name="connsiteX3" fmla="*/ 6496171 w 11369945"/>
              <a:gd name="connsiteY3" fmla="*/ 6308725 h 6308725"/>
              <a:gd name="connsiteX4" fmla="*/ 6111858 w 11369945"/>
              <a:gd name="connsiteY4" fmla="*/ 6308725 h 6308725"/>
              <a:gd name="connsiteX5" fmla="*/ 15859 w 11369945"/>
              <a:gd name="connsiteY5" fmla="*/ 6308725 h 6308725"/>
              <a:gd name="connsiteX6" fmla="*/ 0 w 11369945"/>
              <a:gd name="connsiteY6" fmla="*/ 0 h 6308725"/>
              <a:gd name="connsiteX0" fmla="*/ 142868 w 11354221"/>
              <a:gd name="connsiteY0" fmla="*/ 47115 h 6289350"/>
              <a:gd name="connsiteX1" fmla="*/ 11354221 w 11354221"/>
              <a:gd name="connsiteY1" fmla="*/ 0 h 6289350"/>
              <a:gd name="connsiteX2" fmla="*/ 11136447 w 11354221"/>
              <a:gd name="connsiteY2" fmla="*/ 6289350 h 6289350"/>
              <a:gd name="connsiteX3" fmla="*/ 6480447 w 11354221"/>
              <a:gd name="connsiteY3" fmla="*/ 6289350 h 6289350"/>
              <a:gd name="connsiteX4" fmla="*/ 6096134 w 11354221"/>
              <a:gd name="connsiteY4" fmla="*/ 6289350 h 6289350"/>
              <a:gd name="connsiteX5" fmla="*/ 135 w 11354221"/>
              <a:gd name="connsiteY5" fmla="*/ 6289350 h 6289350"/>
              <a:gd name="connsiteX6" fmla="*/ 142868 w 11354221"/>
              <a:gd name="connsiteY6" fmla="*/ 47115 h 6289350"/>
              <a:gd name="connsiteX0" fmla="*/ 1524 w 11355610"/>
              <a:gd name="connsiteY0" fmla="*/ 0 h 6296636"/>
              <a:gd name="connsiteX1" fmla="*/ 11355610 w 11355610"/>
              <a:gd name="connsiteY1" fmla="*/ 7286 h 6296636"/>
              <a:gd name="connsiteX2" fmla="*/ 11137836 w 11355610"/>
              <a:gd name="connsiteY2" fmla="*/ 6296636 h 6296636"/>
              <a:gd name="connsiteX3" fmla="*/ 6481836 w 11355610"/>
              <a:gd name="connsiteY3" fmla="*/ 6296636 h 6296636"/>
              <a:gd name="connsiteX4" fmla="*/ 6097523 w 11355610"/>
              <a:gd name="connsiteY4" fmla="*/ 6296636 h 6296636"/>
              <a:gd name="connsiteX5" fmla="*/ 1524 w 11355610"/>
              <a:gd name="connsiteY5" fmla="*/ 6296636 h 6296636"/>
              <a:gd name="connsiteX6" fmla="*/ 1524 w 11355610"/>
              <a:gd name="connsiteY6" fmla="*/ 0 h 6296636"/>
              <a:gd name="connsiteX0" fmla="*/ 1524 w 11379401"/>
              <a:gd name="connsiteY0" fmla="*/ 1780 h 6298416"/>
              <a:gd name="connsiteX1" fmla="*/ 11379401 w 11379401"/>
              <a:gd name="connsiteY1" fmla="*/ 0 h 6298416"/>
              <a:gd name="connsiteX2" fmla="*/ 11137836 w 11379401"/>
              <a:gd name="connsiteY2" fmla="*/ 6298416 h 6298416"/>
              <a:gd name="connsiteX3" fmla="*/ 6481836 w 11379401"/>
              <a:gd name="connsiteY3" fmla="*/ 6298416 h 6298416"/>
              <a:gd name="connsiteX4" fmla="*/ 6097523 w 11379401"/>
              <a:gd name="connsiteY4" fmla="*/ 6298416 h 6298416"/>
              <a:gd name="connsiteX5" fmla="*/ 1524 w 11379401"/>
              <a:gd name="connsiteY5" fmla="*/ 6298416 h 6298416"/>
              <a:gd name="connsiteX6" fmla="*/ 1524 w 11379401"/>
              <a:gd name="connsiteY6" fmla="*/ 1780 h 6298416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160658 w 11402223"/>
              <a:gd name="connsiteY2" fmla="*/ 6298416 h 6366418"/>
              <a:gd name="connsiteX3" fmla="*/ 6504658 w 11402223"/>
              <a:gd name="connsiteY3" fmla="*/ 6298416 h 6366418"/>
              <a:gd name="connsiteX4" fmla="*/ 6120345 w 11402223"/>
              <a:gd name="connsiteY4" fmla="*/ 6298416 h 6366418"/>
              <a:gd name="connsiteX5" fmla="*/ 554 w 11402223"/>
              <a:gd name="connsiteY5" fmla="*/ 6366418 h 6366418"/>
              <a:gd name="connsiteX6" fmla="*/ 24346 w 11402223"/>
              <a:gd name="connsiteY6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6504658 w 11402223"/>
              <a:gd name="connsiteY3" fmla="*/ 6298416 h 6366418"/>
              <a:gd name="connsiteX4" fmla="*/ 6120345 w 11402223"/>
              <a:gd name="connsiteY4" fmla="*/ 6298416 h 6366418"/>
              <a:gd name="connsiteX5" fmla="*/ 554 w 11402223"/>
              <a:gd name="connsiteY5" fmla="*/ 6366418 h 6366418"/>
              <a:gd name="connsiteX6" fmla="*/ 24346 w 11402223"/>
              <a:gd name="connsiteY6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6120345 w 11402223"/>
              <a:gd name="connsiteY3" fmla="*/ 6298416 h 6366418"/>
              <a:gd name="connsiteX4" fmla="*/ 554 w 11402223"/>
              <a:gd name="connsiteY4" fmla="*/ 6366418 h 6366418"/>
              <a:gd name="connsiteX5" fmla="*/ 24346 w 11402223"/>
              <a:gd name="connsiteY5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554 w 11402223"/>
              <a:gd name="connsiteY3" fmla="*/ 6366418 h 6366418"/>
              <a:gd name="connsiteX4" fmla="*/ 24346 w 11402223"/>
              <a:gd name="connsiteY4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66418 h 6366418"/>
              <a:gd name="connsiteX3" fmla="*/ 554 w 11402223"/>
              <a:gd name="connsiteY3" fmla="*/ 6366418 h 6366418"/>
              <a:gd name="connsiteX4" fmla="*/ 24346 w 11402223"/>
              <a:gd name="connsiteY4" fmla="*/ 1780 h 6366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2223" h="6366418">
                <a:moveTo>
                  <a:pt x="24346" y="1780"/>
                </a:moveTo>
                <a:lnTo>
                  <a:pt x="11402223" y="0"/>
                </a:lnTo>
                <a:lnTo>
                  <a:pt x="11386653" y="6366418"/>
                </a:lnTo>
                <a:lnTo>
                  <a:pt x="554" y="6366418"/>
                </a:lnTo>
                <a:cubicBezTo>
                  <a:pt x="-4732" y="4263510"/>
                  <a:pt x="29632" y="2104688"/>
                  <a:pt x="24346" y="178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792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0185C9-8355-4E93-880B-4BB6B7F14C64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C392E857-36C8-499F-B8D0-0B5D58A9BBCB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44A765F3-8141-4719-88AE-F0E273A1BE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3DF6EE2B-3DF4-488A-83B5-46B7DBB7E4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2588452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1883C9-2911-417B-BECA-D06F93D6B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661" y="555627"/>
            <a:ext cx="2588452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  <a:endParaRPr lang="de-DE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3635A7E9-4D4E-4959-97EA-0B3DD12C56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1"/>
            <a:ext cx="2588451" cy="3526392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84ED21F1-B5F3-402F-BBE4-A69B6BB13C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grpSp>
        <p:nvGrpSpPr>
          <p:cNvPr id="23" name="Group 5">
            <a:extLst>
              <a:ext uri="{FF2B5EF4-FFF2-40B4-BE49-F238E27FC236}">
                <a16:creationId xmlns:a16="http://schemas.microsoft.com/office/drawing/2014/main" id="{7E1DD35D-4C1C-4B65-A895-DDF9CDF92E9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96F7A898-6B1D-4BEF-B0E2-EC19C0A4888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FA8C88-F61C-454C-8679-95B04B4635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23914F07-2CA8-40B7-992E-4E689CA978C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28EFE29-482C-4AC0-BCA4-EF839D16B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</p:spTree>
    <p:extLst>
      <p:ext uri="{BB962C8B-B14F-4D97-AF65-F5344CB8AC3E}">
        <p14:creationId xmlns:p14="http://schemas.microsoft.com/office/powerpoint/2010/main" val="87682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Außenwerbung 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Baum, draußen, Boden enthält.&#10;&#10;Automatisch generierte Beschreibung">
            <a:extLst>
              <a:ext uri="{FF2B5EF4-FFF2-40B4-BE49-F238E27FC236}">
                <a16:creationId xmlns:a16="http://schemas.microsoft.com/office/drawing/2014/main" id="{61D20BF2-08CA-4A32-97A1-A1AD9F06A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535" y="-1443"/>
            <a:ext cx="6627465" cy="5144944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64BD9606-1DF8-467E-8722-C70FEDCEEA1E}"/>
              </a:ext>
            </a:extLst>
          </p:cNvPr>
          <p:cNvSpPr/>
          <p:nvPr userDrawn="1"/>
        </p:nvSpPr>
        <p:spPr bwMode="gray">
          <a:xfrm>
            <a:off x="-1154" y="4083919"/>
            <a:ext cx="9145154" cy="105958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45100">
                <a:srgbClr val="000000">
                  <a:alpha val="0"/>
                </a:srgbClr>
              </a:gs>
              <a:gs pos="100000">
                <a:schemeClr val="tx1">
                  <a:alpha val="26000"/>
                </a:schemeClr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CFD4A83-EDBF-4BD5-9B2A-735487ACC636}"/>
              </a:ext>
            </a:extLst>
          </p:cNvPr>
          <p:cNvSpPr/>
          <p:nvPr userDrawn="1"/>
        </p:nvSpPr>
        <p:spPr bwMode="blackGray">
          <a:xfrm>
            <a:off x="-1153" y="-1444"/>
            <a:ext cx="3277753" cy="5144944"/>
          </a:xfrm>
          <a:custGeom>
            <a:avLst/>
            <a:gdLst>
              <a:gd name="connsiteX0" fmla="*/ 0 w 3276600"/>
              <a:gd name="connsiteY0" fmla="*/ 0 h 5143134"/>
              <a:gd name="connsiteX1" fmla="*/ 3276600 w 3276600"/>
              <a:gd name="connsiteY1" fmla="*/ 0 h 5143134"/>
              <a:gd name="connsiteX2" fmla="*/ 2645320 w 3276600"/>
              <a:gd name="connsiteY2" fmla="*/ 5143134 h 5143134"/>
              <a:gd name="connsiteX3" fmla="*/ 0 w 3276600"/>
              <a:gd name="connsiteY3" fmla="*/ 5143134 h 514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5143134">
                <a:moveTo>
                  <a:pt x="0" y="0"/>
                </a:moveTo>
                <a:lnTo>
                  <a:pt x="3276600" y="0"/>
                </a:lnTo>
                <a:lnTo>
                  <a:pt x="2645320" y="5143134"/>
                </a:lnTo>
                <a:lnTo>
                  <a:pt x="0" y="5143134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marL="216000" indent="-216000" algn="l">
              <a:spcBef>
                <a:spcPts val="4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000" err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0185C9-8355-4E93-880B-4BB6B7F14C64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AAB9B6AC-2FBF-40FF-8AEA-2CA3942D5AC4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44A765F3-8141-4719-88AE-F0E273A1BE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/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/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/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/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3DF6EE2B-3DF4-488A-83B5-46B7DBB7E4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470661" y="269743"/>
            <a:ext cx="2588452" cy="138607"/>
          </a:xfrm>
        </p:spPr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1883C9-2911-417B-BECA-D06F93D6B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661" y="555627"/>
            <a:ext cx="2588452" cy="468311"/>
          </a:xfrm>
        </p:spPr>
        <p:txBody>
          <a:bodyPr/>
          <a:lstStyle/>
          <a:p>
            <a:r>
              <a:rPr lang="de-DE" noProof="1"/>
              <a:t>Titelmasterformat durch Klicken bearbeiten</a:t>
            </a:r>
            <a:endParaRPr lang="de-DE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3635A7E9-4D4E-4959-97EA-0B3DD12C56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2" y="1240871"/>
            <a:ext cx="2588451" cy="3526392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84ED21F1-B5F3-402F-BBE4-A69B6BB13C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  <p:grpSp>
        <p:nvGrpSpPr>
          <p:cNvPr id="23" name="Group 5">
            <a:extLst>
              <a:ext uri="{FF2B5EF4-FFF2-40B4-BE49-F238E27FC236}">
                <a16:creationId xmlns:a16="http://schemas.microsoft.com/office/drawing/2014/main" id="{7E1DD35D-4C1C-4B65-A895-DDF9CDF92E9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96F7A898-6B1D-4BEF-B0E2-EC19C0A4888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FA8C88-F61C-454C-8679-95B04B4635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23914F07-2CA8-40B7-992E-4E689CA978C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28EFE29-482C-4AC0-BCA4-EF839D16B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62043C40-BAD3-456D-AE27-CC5B387157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43609" y="1979014"/>
            <a:ext cx="4278762" cy="1856864"/>
          </a:xfrm>
          <a:custGeom>
            <a:avLst/>
            <a:gdLst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36312 w 11136312"/>
              <a:gd name="connsiteY5" fmla="*/ 0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26256 w 11136312"/>
              <a:gd name="connsiteY5" fmla="*/ 27126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25685 w 11136312"/>
              <a:gd name="connsiteY5" fmla="*/ 15501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65913 w 11136312"/>
              <a:gd name="connsiteY5" fmla="*/ 46502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086024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136312"/>
              <a:gd name="connsiteY0" fmla="*/ 0 h 6308725"/>
              <a:gd name="connsiteX1" fmla="*/ 471320 w 11136312"/>
              <a:gd name="connsiteY1" fmla="*/ 0 h 6308725"/>
              <a:gd name="connsiteX2" fmla="*/ 635119 w 11136312"/>
              <a:gd name="connsiteY2" fmla="*/ 0 h 6308725"/>
              <a:gd name="connsiteX3" fmla="*/ 5238997 w 11136312"/>
              <a:gd name="connsiteY3" fmla="*/ 0 h 6308725"/>
              <a:gd name="connsiteX4" fmla="*/ 6061398 w 11136312"/>
              <a:gd name="connsiteY4" fmla="*/ 0 h 6308725"/>
              <a:gd name="connsiteX5" fmla="*/ 11116196 w 11136312"/>
              <a:gd name="connsiteY5" fmla="*/ 19375 h 6308725"/>
              <a:gd name="connsiteX6" fmla="*/ 11136312 w 11136312"/>
              <a:gd name="connsiteY6" fmla="*/ 1088138 h 6308725"/>
              <a:gd name="connsiteX7" fmla="*/ 11136312 w 11136312"/>
              <a:gd name="connsiteY7" fmla="*/ 1628775 h 6308725"/>
              <a:gd name="connsiteX8" fmla="*/ 11136312 w 11136312"/>
              <a:gd name="connsiteY8" fmla="*/ 6308725 h 6308725"/>
              <a:gd name="connsiteX9" fmla="*/ 6480312 w 11136312"/>
              <a:gd name="connsiteY9" fmla="*/ 6308725 h 6308725"/>
              <a:gd name="connsiteX10" fmla="*/ 6095999 w 11136312"/>
              <a:gd name="connsiteY10" fmla="*/ 6308725 h 6308725"/>
              <a:gd name="connsiteX11" fmla="*/ 0 w 11136312"/>
              <a:gd name="connsiteY11" fmla="*/ 6308725 h 6308725"/>
              <a:gd name="connsiteX12" fmla="*/ 0 w 11136312"/>
              <a:gd name="connsiteY12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1088138 h 6308725"/>
              <a:gd name="connsiteX7" fmla="*/ 11136312 w 11354086"/>
              <a:gd name="connsiteY7" fmla="*/ 1628775 h 6308725"/>
              <a:gd name="connsiteX8" fmla="*/ 11136312 w 11354086"/>
              <a:gd name="connsiteY8" fmla="*/ 6308725 h 6308725"/>
              <a:gd name="connsiteX9" fmla="*/ 6480312 w 11354086"/>
              <a:gd name="connsiteY9" fmla="*/ 6308725 h 6308725"/>
              <a:gd name="connsiteX10" fmla="*/ 6095999 w 11354086"/>
              <a:gd name="connsiteY10" fmla="*/ 6308725 h 6308725"/>
              <a:gd name="connsiteX11" fmla="*/ 0 w 11354086"/>
              <a:gd name="connsiteY11" fmla="*/ 6308725 h 6308725"/>
              <a:gd name="connsiteX12" fmla="*/ 0 w 11354086"/>
              <a:gd name="connsiteY12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1628775 h 6308725"/>
              <a:gd name="connsiteX7" fmla="*/ 11136312 w 11354086"/>
              <a:gd name="connsiteY7" fmla="*/ 6308725 h 6308725"/>
              <a:gd name="connsiteX8" fmla="*/ 6480312 w 11354086"/>
              <a:gd name="connsiteY8" fmla="*/ 6308725 h 6308725"/>
              <a:gd name="connsiteX9" fmla="*/ 6095999 w 11354086"/>
              <a:gd name="connsiteY9" fmla="*/ 6308725 h 6308725"/>
              <a:gd name="connsiteX10" fmla="*/ 0 w 11354086"/>
              <a:gd name="connsiteY10" fmla="*/ 6308725 h 6308725"/>
              <a:gd name="connsiteX11" fmla="*/ 0 w 11354086"/>
              <a:gd name="connsiteY11" fmla="*/ 0 h 6308725"/>
              <a:gd name="connsiteX0" fmla="*/ 0 w 11354086"/>
              <a:gd name="connsiteY0" fmla="*/ 0 h 6308725"/>
              <a:gd name="connsiteX1" fmla="*/ 471320 w 11354086"/>
              <a:gd name="connsiteY1" fmla="*/ 0 h 6308725"/>
              <a:gd name="connsiteX2" fmla="*/ 635119 w 11354086"/>
              <a:gd name="connsiteY2" fmla="*/ 0 h 6308725"/>
              <a:gd name="connsiteX3" fmla="*/ 5238997 w 11354086"/>
              <a:gd name="connsiteY3" fmla="*/ 0 h 6308725"/>
              <a:gd name="connsiteX4" fmla="*/ 6061398 w 11354086"/>
              <a:gd name="connsiteY4" fmla="*/ 0 h 6308725"/>
              <a:gd name="connsiteX5" fmla="*/ 11354086 w 11354086"/>
              <a:gd name="connsiteY5" fmla="*/ 19375 h 6308725"/>
              <a:gd name="connsiteX6" fmla="*/ 11136312 w 11354086"/>
              <a:gd name="connsiteY6" fmla="*/ 6308725 h 6308725"/>
              <a:gd name="connsiteX7" fmla="*/ 6480312 w 11354086"/>
              <a:gd name="connsiteY7" fmla="*/ 6308725 h 6308725"/>
              <a:gd name="connsiteX8" fmla="*/ 6095999 w 11354086"/>
              <a:gd name="connsiteY8" fmla="*/ 6308725 h 6308725"/>
              <a:gd name="connsiteX9" fmla="*/ 0 w 11354086"/>
              <a:gd name="connsiteY9" fmla="*/ 6308725 h 6308725"/>
              <a:gd name="connsiteX10" fmla="*/ 0 w 11354086"/>
              <a:gd name="connsiteY10" fmla="*/ 0 h 6308725"/>
              <a:gd name="connsiteX0" fmla="*/ 0 w 11369945"/>
              <a:gd name="connsiteY0" fmla="*/ 0 h 6308725"/>
              <a:gd name="connsiteX1" fmla="*/ 487179 w 11369945"/>
              <a:gd name="connsiteY1" fmla="*/ 0 h 6308725"/>
              <a:gd name="connsiteX2" fmla="*/ 650978 w 11369945"/>
              <a:gd name="connsiteY2" fmla="*/ 0 h 6308725"/>
              <a:gd name="connsiteX3" fmla="*/ 5254856 w 11369945"/>
              <a:gd name="connsiteY3" fmla="*/ 0 h 6308725"/>
              <a:gd name="connsiteX4" fmla="*/ 6077257 w 11369945"/>
              <a:gd name="connsiteY4" fmla="*/ 0 h 6308725"/>
              <a:gd name="connsiteX5" fmla="*/ 11369945 w 11369945"/>
              <a:gd name="connsiteY5" fmla="*/ 19375 h 6308725"/>
              <a:gd name="connsiteX6" fmla="*/ 11152171 w 11369945"/>
              <a:gd name="connsiteY6" fmla="*/ 6308725 h 6308725"/>
              <a:gd name="connsiteX7" fmla="*/ 6496171 w 11369945"/>
              <a:gd name="connsiteY7" fmla="*/ 6308725 h 6308725"/>
              <a:gd name="connsiteX8" fmla="*/ 6111858 w 11369945"/>
              <a:gd name="connsiteY8" fmla="*/ 6308725 h 6308725"/>
              <a:gd name="connsiteX9" fmla="*/ 15859 w 11369945"/>
              <a:gd name="connsiteY9" fmla="*/ 6308725 h 6308725"/>
              <a:gd name="connsiteX10" fmla="*/ 0 w 11369945"/>
              <a:gd name="connsiteY10" fmla="*/ 0 h 6308725"/>
              <a:gd name="connsiteX0" fmla="*/ 0 w 11369945"/>
              <a:gd name="connsiteY0" fmla="*/ 0 h 6308725"/>
              <a:gd name="connsiteX1" fmla="*/ 650978 w 11369945"/>
              <a:gd name="connsiteY1" fmla="*/ 0 h 6308725"/>
              <a:gd name="connsiteX2" fmla="*/ 5254856 w 11369945"/>
              <a:gd name="connsiteY2" fmla="*/ 0 h 6308725"/>
              <a:gd name="connsiteX3" fmla="*/ 6077257 w 11369945"/>
              <a:gd name="connsiteY3" fmla="*/ 0 h 6308725"/>
              <a:gd name="connsiteX4" fmla="*/ 11369945 w 11369945"/>
              <a:gd name="connsiteY4" fmla="*/ 19375 h 6308725"/>
              <a:gd name="connsiteX5" fmla="*/ 11152171 w 11369945"/>
              <a:gd name="connsiteY5" fmla="*/ 6308725 h 6308725"/>
              <a:gd name="connsiteX6" fmla="*/ 6496171 w 11369945"/>
              <a:gd name="connsiteY6" fmla="*/ 6308725 h 6308725"/>
              <a:gd name="connsiteX7" fmla="*/ 6111858 w 11369945"/>
              <a:gd name="connsiteY7" fmla="*/ 6308725 h 6308725"/>
              <a:gd name="connsiteX8" fmla="*/ 15859 w 11369945"/>
              <a:gd name="connsiteY8" fmla="*/ 6308725 h 6308725"/>
              <a:gd name="connsiteX9" fmla="*/ 0 w 11369945"/>
              <a:gd name="connsiteY9" fmla="*/ 0 h 6308725"/>
              <a:gd name="connsiteX0" fmla="*/ 0 w 11369945"/>
              <a:gd name="connsiteY0" fmla="*/ 0 h 6308725"/>
              <a:gd name="connsiteX1" fmla="*/ 5254856 w 11369945"/>
              <a:gd name="connsiteY1" fmla="*/ 0 h 6308725"/>
              <a:gd name="connsiteX2" fmla="*/ 6077257 w 11369945"/>
              <a:gd name="connsiteY2" fmla="*/ 0 h 6308725"/>
              <a:gd name="connsiteX3" fmla="*/ 11369945 w 11369945"/>
              <a:gd name="connsiteY3" fmla="*/ 19375 h 6308725"/>
              <a:gd name="connsiteX4" fmla="*/ 11152171 w 11369945"/>
              <a:gd name="connsiteY4" fmla="*/ 6308725 h 6308725"/>
              <a:gd name="connsiteX5" fmla="*/ 6496171 w 11369945"/>
              <a:gd name="connsiteY5" fmla="*/ 6308725 h 6308725"/>
              <a:gd name="connsiteX6" fmla="*/ 6111858 w 11369945"/>
              <a:gd name="connsiteY6" fmla="*/ 6308725 h 6308725"/>
              <a:gd name="connsiteX7" fmla="*/ 15859 w 11369945"/>
              <a:gd name="connsiteY7" fmla="*/ 6308725 h 6308725"/>
              <a:gd name="connsiteX8" fmla="*/ 0 w 11369945"/>
              <a:gd name="connsiteY8" fmla="*/ 0 h 6308725"/>
              <a:gd name="connsiteX0" fmla="*/ 0 w 11369945"/>
              <a:gd name="connsiteY0" fmla="*/ 0 h 6308725"/>
              <a:gd name="connsiteX1" fmla="*/ 6077257 w 11369945"/>
              <a:gd name="connsiteY1" fmla="*/ 0 h 6308725"/>
              <a:gd name="connsiteX2" fmla="*/ 11369945 w 11369945"/>
              <a:gd name="connsiteY2" fmla="*/ 19375 h 6308725"/>
              <a:gd name="connsiteX3" fmla="*/ 11152171 w 11369945"/>
              <a:gd name="connsiteY3" fmla="*/ 6308725 h 6308725"/>
              <a:gd name="connsiteX4" fmla="*/ 6496171 w 11369945"/>
              <a:gd name="connsiteY4" fmla="*/ 6308725 h 6308725"/>
              <a:gd name="connsiteX5" fmla="*/ 6111858 w 11369945"/>
              <a:gd name="connsiteY5" fmla="*/ 6308725 h 6308725"/>
              <a:gd name="connsiteX6" fmla="*/ 15859 w 11369945"/>
              <a:gd name="connsiteY6" fmla="*/ 6308725 h 6308725"/>
              <a:gd name="connsiteX7" fmla="*/ 0 w 11369945"/>
              <a:gd name="connsiteY7" fmla="*/ 0 h 6308725"/>
              <a:gd name="connsiteX0" fmla="*/ 0 w 11369945"/>
              <a:gd name="connsiteY0" fmla="*/ 0 h 6308725"/>
              <a:gd name="connsiteX1" fmla="*/ 11369945 w 11369945"/>
              <a:gd name="connsiteY1" fmla="*/ 19375 h 6308725"/>
              <a:gd name="connsiteX2" fmla="*/ 11152171 w 11369945"/>
              <a:gd name="connsiteY2" fmla="*/ 6308725 h 6308725"/>
              <a:gd name="connsiteX3" fmla="*/ 6496171 w 11369945"/>
              <a:gd name="connsiteY3" fmla="*/ 6308725 h 6308725"/>
              <a:gd name="connsiteX4" fmla="*/ 6111858 w 11369945"/>
              <a:gd name="connsiteY4" fmla="*/ 6308725 h 6308725"/>
              <a:gd name="connsiteX5" fmla="*/ 15859 w 11369945"/>
              <a:gd name="connsiteY5" fmla="*/ 6308725 h 6308725"/>
              <a:gd name="connsiteX6" fmla="*/ 0 w 11369945"/>
              <a:gd name="connsiteY6" fmla="*/ 0 h 6308725"/>
              <a:gd name="connsiteX0" fmla="*/ 142868 w 11354221"/>
              <a:gd name="connsiteY0" fmla="*/ 47115 h 6289350"/>
              <a:gd name="connsiteX1" fmla="*/ 11354221 w 11354221"/>
              <a:gd name="connsiteY1" fmla="*/ 0 h 6289350"/>
              <a:gd name="connsiteX2" fmla="*/ 11136447 w 11354221"/>
              <a:gd name="connsiteY2" fmla="*/ 6289350 h 6289350"/>
              <a:gd name="connsiteX3" fmla="*/ 6480447 w 11354221"/>
              <a:gd name="connsiteY3" fmla="*/ 6289350 h 6289350"/>
              <a:gd name="connsiteX4" fmla="*/ 6096134 w 11354221"/>
              <a:gd name="connsiteY4" fmla="*/ 6289350 h 6289350"/>
              <a:gd name="connsiteX5" fmla="*/ 135 w 11354221"/>
              <a:gd name="connsiteY5" fmla="*/ 6289350 h 6289350"/>
              <a:gd name="connsiteX6" fmla="*/ 142868 w 11354221"/>
              <a:gd name="connsiteY6" fmla="*/ 47115 h 6289350"/>
              <a:gd name="connsiteX0" fmla="*/ 1524 w 11355610"/>
              <a:gd name="connsiteY0" fmla="*/ 0 h 6296636"/>
              <a:gd name="connsiteX1" fmla="*/ 11355610 w 11355610"/>
              <a:gd name="connsiteY1" fmla="*/ 7286 h 6296636"/>
              <a:gd name="connsiteX2" fmla="*/ 11137836 w 11355610"/>
              <a:gd name="connsiteY2" fmla="*/ 6296636 h 6296636"/>
              <a:gd name="connsiteX3" fmla="*/ 6481836 w 11355610"/>
              <a:gd name="connsiteY3" fmla="*/ 6296636 h 6296636"/>
              <a:gd name="connsiteX4" fmla="*/ 6097523 w 11355610"/>
              <a:gd name="connsiteY4" fmla="*/ 6296636 h 6296636"/>
              <a:gd name="connsiteX5" fmla="*/ 1524 w 11355610"/>
              <a:gd name="connsiteY5" fmla="*/ 6296636 h 6296636"/>
              <a:gd name="connsiteX6" fmla="*/ 1524 w 11355610"/>
              <a:gd name="connsiteY6" fmla="*/ 0 h 6296636"/>
              <a:gd name="connsiteX0" fmla="*/ 1524 w 11379401"/>
              <a:gd name="connsiteY0" fmla="*/ 1780 h 6298416"/>
              <a:gd name="connsiteX1" fmla="*/ 11379401 w 11379401"/>
              <a:gd name="connsiteY1" fmla="*/ 0 h 6298416"/>
              <a:gd name="connsiteX2" fmla="*/ 11137836 w 11379401"/>
              <a:gd name="connsiteY2" fmla="*/ 6298416 h 6298416"/>
              <a:gd name="connsiteX3" fmla="*/ 6481836 w 11379401"/>
              <a:gd name="connsiteY3" fmla="*/ 6298416 h 6298416"/>
              <a:gd name="connsiteX4" fmla="*/ 6097523 w 11379401"/>
              <a:gd name="connsiteY4" fmla="*/ 6298416 h 6298416"/>
              <a:gd name="connsiteX5" fmla="*/ 1524 w 11379401"/>
              <a:gd name="connsiteY5" fmla="*/ 6298416 h 6298416"/>
              <a:gd name="connsiteX6" fmla="*/ 1524 w 11379401"/>
              <a:gd name="connsiteY6" fmla="*/ 1780 h 6298416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160658 w 11402223"/>
              <a:gd name="connsiteY2" fmla="*/ 6298416 h 6366418"/>
              <a:gd name="connsiteX3" fmla="*/ 6504658 w 11402223"/>
              <a:gd name="connsiteY3" fmla="*/ 6298416 h 6366418"/>
              <a:gd name="connsiteX4" fmla="*/ 6120345 w 11402223"/>
              <a:gd name="connsiteY4" fmla="*/ 6298416 h 6366418"/>
              <a:gd name="connsiteX5" fmla="*/ 554 w 11402223"/>
              <a:gd name="connsiteY5" fmla="*/ 6366418 h 6366418"/>
              <a:gd name="connsiteX6" fmla="*/ 24346 w 11402223"/>
              <a:gd name="connsiteY6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6504658 w 11402223"/>
              <a:gd name="connsiteY3" fmla="*/ 6298416 h 6366418"/>
              <a:gd name="connsiteX4" fmla="*/ 6120345 w 11402223"/>
              <a:gd name="connsiteY4" fmla="*/ 6298416 h 6366418"/>
              <a:gd name="connsiteX5" fmla="*/ 554 w 11402223"/>
              <a:gd name="connsiteY5" fmla="*/ 6366418 h 6366418"/>
              <a:gd name="connsiteX6" fmla="*/ 24346 w 11402223"/>
              <a:gd name="connsiteY6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6120345 w 11402223"/>
              <a:gd name="connsiteY3" fmla="*/ 6298416 h 6366418"/>
              <a:gd name="connsiteX4" fmla="*/ 554 w 11402223"/>
              <a:gd name="connsiteY4" fmla="*/ 6366418 h 6366418"/>
              <a:gd name="connsiteX5" fmla="*/ 24346 w 11402223"/>
              <a:gd name="connsiteY5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57350 h 6366418"/>
              <a:gd name="connsiteX3" fmla="*/ 554 w 11402223"/>
              <a:gd name="connsiteY3" fmla="*/ 6366418 h 6366418"/>
              <a:gd name="connsiteX4" fmla="*/ 24346 w 11402223"/>
              <a:gd name="connsiteY4" fmla="*/ 1780 h 6366418"/>
              <a:gd name="connsiteX0" fmla="*/ 24346 w 11402223"/>
              <a:gd name="connsiteY0" fmla="*/ 1780 h 6366418"/>
              <a:gd name="connsiteX1" fmla="*/ 11402223 w 11402223"/>
              <a:gd name="connsiteY1" fmla="*/ 0 h 6366418"/>
              <a:gd name="connsiteX2" fmla="*/ 11386653 w 11402223"/>
              <a:gd name="connsiteY2" fmla="*/ 6366418 h 6366418"/>
              <a:gd name="connsiteX3" fmla="*/ 554 w 11402223"/>
              <a:gd name="connsiteY3" fmla="*/ 6366418 h 6366418"/>
              <a:gd name="connsiteX4" fmla="*/ 24346 w 11402223"/>
              <a:gd name="connsiteY4" fmla="*/ 1780 h 6366418"/>
              <a:gd name="connsiteX0" fmla="*/ 16025 w 11393902"/>
              <a:gd name="connsiteY0" fmla="*/ 1780 h 6432735"/>
              <a:gd name="connsiteX1" fmla="*/ 11393902 w 11393902"/>
              <a:gd name="connsiteY1" fmla="*/ 0 h 6432735"/>
              <a:gd name="connsiteX2" fmla="*/ 11378332 w 11393902"/>
              <a:gd name="connsiteY2" fmla="*/ 6366418 h 6432735"/>
              <a:gd name="connsiteX3" fmla="*/ 716 w 11393902"/>
              <a:gd name="connsiteY3" fmla="*/ 6432735 h 6432735"/>
              <a:gd name="connsiteX4" fmla="*/ 16025 w 11393902"/>
              <a:gd name="connsiteY4" fmla="*/ 1780 h 6432735"/>
              <a:gd name="connsiteX0" fmla="*/ 1 w 11377878"/>
              <a:gd name="connsiteY0" fmla="*/ 1780 h 6366418"/>
              <a:gd name="connsiteX1" fmla="*/ 11377878 w 11377878"/>
              <a:gd name="connsiteY1" fmla="*/ 0 h 6366418"/>
              <a:gd name="connsiteX2" fmla="*/ 11362308 w 11377878"/>
              <a:gd name="connsiteY2" fmla="*/ 6366418 h 6366418"/>
              <a:gd name="connsiteX3" fmla="*/ 27111 w 11377878"/>
              <a:gd name="connsiteY3" fmla="*/ 6322207 h 6366418"/>
              <a:gd name="connsiteX4" fmla="*/ 1 w 11377878"/>
              <a:gd name="connsiteY4" fmla="*/ 1780 h 6366418"/>
              <a:gd name="connsiteX0" fmla="*/ 87 w 11377964"/>
              <a:gd name="connsiteY0" fmla="*/ 1780 h 6410629"/>
              <a:gd name="connsiteX1" fmla="*/ 11377964 w 11377964"/>
              <a:gd name="connsiteY1" fmla="*/ 0 h 6410629"/>
              <a:gd name="connsiteX2" fmla="*/ 11362394 w 11377964"/>
              <a:gd name="connsiteY2" fmla="*/ 6366418 h 6410629"/>
              <a:gd name="connsiteX3" fmla="*/ 1745 w 11377964"/>
              <a:gd name="connsiteY3" fmla="*/ 6410629 h 6410629"/>
              <a:gd name="connsiteX4" fmla="*/ 87 w 11377964"/>
              <a:gd name="connsiteY4" fmla="*/ 1780 h 6410629"/>
              <a:gd name="connsiteX0" fmla="*/ 0 w 11386360"/>
              <a:gd name="connsiteY0" fmla="*/ 0 h 6430956"/>
              <a:gd name="connsiteX1" fmla="*/ 11386360 w 11386360"/>
              <a:gd name="connsiteY1" fmla="*/ 20327 h 6430956"/>
              <a:gd name="connsiteX2" fmla="*/ 11370790 w 11386360"/>
              <a:gd name="connsiteY2" fmla="*/ 6386745 h 6430956"/>
              <a:gd name="connsiteX3" fmla="*/ 10141 w 11386360"/>
              <a:gd name="connsiteY3" fmla="*/ 6430956 h 6430956"/>
              <a:gd name="connsiteX4" fmla="*/ 0 w 11386360"/>
              <a:gd name="connsiteY4" fmla="*/ 0 h 6430956"/>
              <a:gd name="connsiteX0" fmla="*/ 0 w 11403328"/>
              <a:gd name="connsiteY0" fmla="*/ 0 h 6442009"/>
              <a:gd name="connsiteX1" fmla="*/ 11403328 w 11403328"/>
              <a:gd name="connsiteY1" fmla="*/ 31380 h 6442009"/>
              <a:gd name="connsiteX2" fmla="*/ 11387758 w 11403328"/>
              <a:gd name="connsiteY2" fmla="*/ 6397798 h 6442009"/>
              <a:gd name="connsiteX3" fmla="*/ 27109 w 11403328"/>
              <a:gd name="connsiteY3" fmla="*/ 6442009 h 6442009"/>
              <a:gd name="connsiteX4" fmla="*/ 0 w 11403328"/>
              <a:gd name="connsiteY4" fmla="*/ 0 h 6442009"/>
              <a:gd name="connsiteX0" fmla="*/ 0 w 11387758"/>
              <a:gd name="connsiteY0" fmla="*/ 0 h 6442009"/>
              <a:gd name="connsiteX1" fmla="*/ 11377877 w 11387758"/>
              <a:gd name="connsiteY1" fmla="*/ 20327 h 6442009"/>
              <a:gd name="connsiteX2" fmla="*/ 11387758 w 11387758"/>
              <a:gd name="connsiteY2" fmla="*/ 6397798 h 6442009"/>
              <a:gd name="connsiteX3" fmla="*/ 27109 w 11387758"/>
              <a:gd name="connsiteY3" fmla="*/ 6442009 h 6442009"/>
              <a:gd name="connsiteX4" fmla="*/ 0 w 11387758"/>
              <a:gd name="connsiteY4" fmla="*/ 0 h 6442009"/>
              <a:gd name="connsiteX0" fmla="*/ 0 w 11377927"/>
              <a:gd name="connsiteY0" fmla="*/ 0 h 6442009"/>
              <a:gd name="connsiteX1" fmla="*/ 11377877 w 11377927"/>
              <a:gd name="connsiteY1" fmla="*/ 20327 h 6442009"/>
              <a:gd name="connsiteX2" fmla="*/ 11226566 w 11377927"/>
              <a:gd name="connsiteY2" fmla="*/ 6342534 h 6442009"/>
              <a:gd name="connsiteX3" fmla="*/ 27109 w 11377927"/>
              <a:gd name="connsiteY3" fmla="*/ 6442009 h 6442009"/>
              <a:gd name="connsiteX4" fmla="*/ 0 w 11377927"/>
              <a:gd name="connsiteY4" fmla="*/ 0 h 6442009"/>
              <a:gd name="connsiteX0" fmla="*/ 0 w 11396244"/>
              <a:gd name="connsiteY0" fmla="*/ 0 h 6442009"/>
              <a:gd name="connsiteX1" fmla="*/ 11377877 w 11396244"/>
              <a:gd name="connsiteY1" fmla="*/ 20327 h 6442009"/>
              <a:gd name="connsiteX2" fmla="*/ 11396244 w 11396244"/>
              <a:gd name="connsiteY2" fmla="*/ 6386745 h 6442009"/>
              <a:gd name="connsiteX3" fmla="*/ 27109 w 11396244"/>
              <a:gd name="connsiteY3" fmla="*/ 6442009 h 6442009"/>
              <a:gd name="connsiteX4" fmla="*/ 0 w 11396244"/>
              <a:gd name="connsiteY4" fmla="*/ 0 h 6442009"/>
              <a:gd name="connsiteX0" fmla="*/ 0 w 11404728"/>
              <a:gd name="connsiteY0" fmla="*/ 0 h 6442009"/>
              <a:gd name="connsiteX1" fmla="*/ 11377877 w 11404728"/>
              <a:gd name="connsiteY1" fmla="*/ 20327 h 6442009"/>
              <a:gd name="connsiteX2" fmla="*/ 11404728 w 11404728"/>
              <a:gd name="connsiteY2" fmla="*/ 6386745 h 6442009"/>
              <a:gd name="connsiteX3" fmla="*/ 27109 w 11404728"/>
              <a:gd name="connsiteY3" fmla="*/ 6442009 h 6442009"/>
              <a:gd name="connsiteX4" fmla="*/ 0 w 11404728"/>
              <a:gd name="connsiteY4" fmla="*/ 0 h 6442009"/>
              <a:gd name="connsiteX0" fmla="*/ 0 w 11404728"/>
              <a:gd name="connsiteY0" fmla="*/ 0 h 6442009"/>
              <a:gd name="connsiteX1" fmla="*/ 11386360 w 11404728"/>
              <a:gd name="connsiteY1" fmla="*/ 9274 h 6442009"/>
              <a:gd name="connsiteX2" fmla="*/ 11404728 w 11404728"/>
              <a:gd name="connsiteY2" fmla="*/ 6386745 h 6442009"/>
              <a:gd name="connsiteX3" fmla="*/ 27109 w 11404728"/>
              <a:gd name="connsiteY3" fmla="*/ 6442009 h 6442009"/>
              <a:gd name="connsiteX4" fmla="*/ 0 w 11404728"/>
              <a:gd name="connsiteY4" fmla="*/ 0 h 6442009"/>
              <a:gd name="connsiteX0" fmla="*/ 0 w 11413212"/>
              <a:gd name="connsiteY0" fmla="*/ 0 h 6453062"/>
              <a:gd name="connsiteX1" fmla="*/ 11394844 w 11413212"/>
              <a:gd name="connsiteY1" fmla="*/ 20327 h 6453062"/>
              <a:gd name="connsiteX2" fmla="*/ 11413212 w 11413212"/>
              <a:gd name="connsiteY2" fmla="*/ 6397798 h 6453062"/>
              <a:gd name="connsiteX3" fmla="*/ 35593 w 11413212"/>
              <a:gd name="connsiteY3" fmla="*/ 6453062 h 6453062"/>
              <a:gd name="connsiteX4" fmla="*/ 0 w 11413212"/>
              <a:gd name="connsiteY4" fmla="*/ 0 h 6453062"/>
              <a:gd name="connsiteX0" fmla="*/ 0 w 11413212"/>
              <a:gd name="connsiteY0" fmla="*/ 0 h 6464115"/>
              <a:gd name="connsiteX1" fmla="*/ 11394844 w 11413212"/>
              <a:gd name="connsiteY1" fmla="*/ 20327 h 6464115"/>
              <a:gd name="connsiteX2" fmla="*/ 11413212 w 11413212"/>
              <a:gd name="connsiteY2" fmla="*/ 6397798 h 6464115"/>
              <a:gd name="connsiteX3" fmla="*/ 27108 w 11413212"/>
              <a:gd name="connsiteY3" fmla="*/ 6464115 h 6464115"/>
              <a:gd name="connsiteX4" fmla="*/ 0 w 11413212"/>
              <a:gd name="connsiteY4" fmla="*/ 0 h 6464115"/>
              <a:gd name="connsiteX0" fmla="*/ 0 w 11413212"/>
              <a:gd name="connsiteY0" fmla="*/ 0 h 6397798"/>
              <a:gd name="connsiteX1" fmla="*/ 11394844 w 11413212"/>
              <a:gd name="connsiteY1" fmla="*/ 20327 h 6397798"/>
              <a:gd name="connsiteX2" fmla="*/ 11413212 w 11413212"/>
              <a:gd name="connsiteY2" fmla="*/ 6397798 h 6397798"/>
              <a:gd name="connsiteX3" fmla="*/ 268898 w 11413212"/>
              <a:gd name="connsiteY3" fmla="*/ 6124242 h 6397798"/>
              <a:gd name="connsiteX4" fmla="*/ 0 w 11413212"/>
              <a:gd name="connsiteY4" fmla="*/ 0 h 6397798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46197 w 11413212"/>
              <a:gd name="connsiteY3" fmla="*/ 6455826 h 6455826"/>
              <a:gd name="connsiteX4" fmla="*/ 0 w 11413212"/>
              <a:gd name="connsiteY4" fmla="*/ 0 h 6455826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46197 w 11413212"/>
              <a:gd name="connsiteY4" fmla="*/ 6455826 h 6455826"/>
              <a:gd name="connsiteX5" fmla="*/ 0 w 11413212"/>
              <a:gd name="connsiteY5" fmla="*/ 0 h 6455826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46197 w 11413212"/>
              <a:gd name="connsiteY4" fmla="*/ 6455826 h 6455826"/>
              <a:gd name="connsiteX5" fmla="*/ 0 w 11413212"/>
              <a:gd name="connsiteY5" fmla="*/ 0 h 6455826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46197 w 11413212"/>
              <a:gd name="connsiteY4" fmla="*/ 6455826 h 6455826"/>
              <a:gd name="connsiteX5" fmla="*/ 0 w 11413212"/>
              <a:gd name="connsiteY5" fmla="*/ 0 h 6455826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46197 w 11413212"/>
              <a:gd name="connsiteY4" fmla="*/ 6455826 h 6455826"/>
              <a:gd name="connsiteX5" fmla="*/ 0 w 11413212"/>
              <a:gd name="connsiteY5" fmla="*/ 0 h 6455826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1138358 w 11413212"/>
              <a:gd name="connsiteY4" fmla="*/ 6440352 h 6455826"/>
              <a:gd name="connsiteX5" fmla="*/ 46197 w 11413212"/>
              <a:gd name="connsiteY5" fmla="*/ 6455826 h 6455826"/>
              <a:gd name="connsiteX6" fmla="*/ 0 w 11413212"/>
              <a:gd name="connsiteY6" fmla="*/ 0 h 6455826"/>
              <a:gd name="connsiteX0" fmla="*/ 0 w 11413212"/>
              <a:gd name="connsiteY0" fmla="*/ 0 h 6465222"/>
              <a:gd name="connsiteX1" fmla="*/ 11394844 w 11413212"/>
              <a:gd name="connsiteY1" fmla="*/ 20327 h 6465222"/>
              <a:gd name="connsiteX2" fmla="*/ 11413212 w 11413212"/>
              <a:gd name="connsiteY2" fmla="*/ 6397798 h 6465222"/>
              <a:gd name="connsiteX3" fmla="*/ 9849099 w 11413212"/>
              <a:gd name="connsiteY3" fmla="*/ 6390613 h 6465222"/>
              <a:gd name="connsiteX4" fmla="*/ 1144720 w 11413212"/>
              <a:gd name="connsiteY4" fmla="*/ 6465222 h 6465222"/>
              <a:gd name="connsiteX5" fmla="*/ 46197 w 11413212"/>
              <a:gd name="connsiteY5" fmla="*/ 6455826 h 6465222"/>
              <a:gd name="connsiteX6" fmla="*/ 0 w 11413212"/>
              <a:gd name="connsiteY6" fmla="*/ 0 h 6465222"/>
              <a:gd name="connsiteX0" fmla="*/ 0 w 11413212"/>
              <a:gd name="connsiteY0" fmla="*/ 0 h 6465222"/>
              <a:gd name="connsiteX1" fmla="*/ 11394844 w 11413212"/>
              <a:gd name="connsiteY1" fmla="*/ 20327 h 6465222"/>
              <a:gd name="connsiteX2" fmla="*/ 11413212 w 11413212"/>
              <a:gd name="connsiteY2" fmla="*/ 6397798 h 6465222"/>
              <a:gd name="connsiteX3" fmla="*/ 9849099 w 11413212"/>
              <a:gd name="connsiteY3" fmla="*/ 6390613 h 6465222"/>
              <a:gd name="connsiteX4" fmla="*/ 1144720 w 11413212"/>
              <a:gd name="connsiteY4" fmla="*/ 6465222 h 6465222"/>
              <a:gd name="connsiteX5" fmla="*/ 46197 w 11413212"/>
              <a:gd name="connsiteY5" fmla="*/ 6455826 h 6465222"/>
              <a:gd name="connsiteX6" fmla="*/ 0 w 11413212"/>
              <a:gd name="connsiteY6" fmla="*/ 0 h 6465222"/>
              <a:gd name="connsiteX0" fmla="*/ 0 w 11413212"/>
              <a:gd name="connsiteY0" fmla="*/ 0 h 6455826"/>
              <a:gd name="connsiteX1" fmla="*/ 11394844 w 11413212"/>
              <a:gd name="connsiteY1" fmla="*/ 20327 h 6455826"/>
              <a:gd name="connsiteX2" fmla="*/ 11413212 w 11413212"/>
              <a:gd name="connsiteY2" fmla="*/ 6397798 h 6455826"/>
              <a:gd name="connsiteX3" fmla="*/ 9849099 w 11413212"/>
              <a:gd name="connsiteY3" fmla="*/ 6390613 h 6455826"/>
              <a:gd name="connsiteX4" fmla="*/ 1144720 w 11413212"/>
              <a:gd name="connsiteY4" fmla="*/ 6440352 h 6455826"/>
              <a:gd name="connsiteX5" fmla="*/ 46197 w 11413212"/>
              <a:gd name="connsiteY5" fmla="*/ 6455826 h 6455826"/>
              <a:gd name="connsiteX6" fmla="*/ 0 w 11413212"/>
              <a:gd name="connsiteY6" fmla="*/ 0 h 6455826"/>
              <a:gd name="connsiteX0" fmla="*/ 0 w 11413212"/>
              <a:gd name="connsiteY0" fmla="*/ 0 h 6465218"/>
              <a:gd name="connsiteX1" fmla="*/ 11394844 w 11413212"/>
              <a:gd name="connsiteY1" fmla="*/ 20327 h 6465218"/>
              <a:gd name="connsiteX2" fmla="*/ 11413212 w 11413212"/>
              <a:gd name="connsiteY2" fmla="*/ 6397798 h 6465218"/>
              <a:gd name="connsiteX3" fmla="*/ 9849099 w 11413212"/>
              <a:gd name="connsiteY3" fmla="*/ 6390613 h 6465218"/>
              <a:gd name="connsiteX4" fmla="*/ 1233798 w 11413212"/>
              <a:gd name="connsiteY4" fmla="*/ 6465218 h 6465218"/>
              <a:gd name="connsiteX5" fmla="*/ 46197 w 11413212"/>
              <a:gd name="connsiteY5" fmla="*/ 6455826 h 6465218"/>
              <a:gd name="connsiteX6" fmla="*/ 0 w 11413212"/>
              <a:gd name="connsiteY6" fmla="*/ 0 h 6465218"/>
              <a:gd name="connsiteX0" fmla="*/ 0 w 11413212"/>
              <a:gd name="connsiteY0" fmla="*/ 0 h 6465218"/>
              <a:gd name="connsiteX1" fmla="*/ 11394844 w 11413212"/>
              <a:gd name="connsiteY1" fmla="*/ 20327 h 6465218"/>
              <a:gd name="connsiteX2" fmla="*/ 11413212 w 11413212"/>
              <a:gd name="connsiteY2" fmla="*/ 6397798 h 6465218"/>
              <a:gd name="connsiteX3" fmla="*/ 9849099 w 11413212"/>
              <a:gd name="connsiteY3" fmla="*/ 6390613 h 6465218"/>
              <a:gd name="connsiteX4" fmla="*/ 1233798 w 11413212"/>
              <a:gd name="connsiteY4" fmla="*/ 6465218 h 6465218"/>
              <a:gd name="connsiteX5" fmla="*/ 46197 w 11413212"/>
              <a:gd name="connsiteY5" fmla="*/ 6455826 h 6465218"/>
              <a:gd name="connsiteX6" fmla="*/ 0 w 11413212"/>
              <a:gd name="connsiteY6" fmla="*/ 0 h 6465218"/>
              <a:gd name="connsiteX0" fmla="*/ 0 w 11413212"/>
              <a:gd name="connsiteY0" fmla="*/ 0 h 6465218"/>
              <a:gd name="connsiteX1" fmla="*/ 11401206 w 11413212"/>
              <a:gd name="connsiteY1" fmla="*/ 20327 h 6465218"/>
              <a:gd name="connsiteX2" fmla="*/ 11413212 w 11413212"/>
              <a:gd name="connsiteY2" fmla="*/ 6397798 h 6465218"/>
              <a:gd name="connsiteX3" fmla="*/ 9849099 w 11413212"/>
              <a:gd name="connsiteY3" fmla="*/ 6390613 h 6465218"/>
              <a:gd name="connsiteX4" fmla="*/ 1233798 w 11413212"/>
              <a:gd name="connsiteY4" fmla="*/ 6465218 h 6465218"/>
              <a:gd name="connsiteX5" fmla="*/ 46197 w 11413212"/>
              <a:gd name="connsiteY5" fmla="*/ 6455826 h 6465218"/>
              <a:gd name="connsiteX6" fmla="*/ 0 w 11413212"/>
              <a:gd name="connsiteY6" fmla="*/ 0 h 6465218"/>
              <a:gd name="connsiteX0" fmla="*/ 0 w 11419574"/>
              <a:gd name="connsiteY0" fmla="*/ 0 h 6465218"/>
              <a:gd name="connsiteX1" fmla="*/ 11401206 w 11419574"/>
              <a:gd name="connsiteY1" fmla="*/ 20327 h 6465218"/>
              <a:gd name="connsiteX2" fmla="*/ 11419574 w 11419574"/>
              <a:gd name="connsiteY2" fmla="*/ 6397798 h 6465218"/>
              <a:gd name="connsiteX3" fmla="*/ 9849099 w 11419574"/>
              <a:gd name="connsiteY3" fmla="*/ 6390613 h 6465218"/>
              <a:gd name="connsiteX4" fmla="*/ 1233798 w 11419574"/>
              <a:gd name="connsiteY4" fmla="*/ 6465218 h 6465218"/>
              <a:gd name="connsiteX5" fmla="*/ 46197 w 11419574"/>
              <a:gd name="connsiteY5" fmla="*/ 6455826 h 6465218"/>
              <a:gd name="connsiteX6" fmla="*/ 0 w 11419574"/>
              <a:gd name="connsiteY6" fmla="*/ 0 h 6465218"/>
              <a:gd name="connsiteX0" fmla="*/ 0 w 11425936"/>
              <a:gd name="connsiteY0" fmla="*/ 0 h 6465218"/>
              <a:gd name="connsiteX1" fmla="*/ 11401206 w 11425936"/>
              <a:gd name="connsiteY1" fmla="*/ 20327 h 6465218"/>
              <a:gd name="connsiteX2" fmla="*/ 11425936 w 11425936"/>
              <a:gd name="connsiteY2" fmla="*/ 6381220 h 6465218"/>
              <a:gd name="connsiteX3" fmla="*/ 9849099 w 11425936"/>
              <a:gd name="connsiteY3" fmla="*/ 6390613 h 6465218"/>
              <a:gd name="connsiteX4" fmla="*/ 1233798 w 11425936"/>
              <a:gd name="connsiteY4" fmla="*/ 6465218 h 6465218"/>
              <a:gd name="connsiteX5" fmla="*/ 46197 w 11425936"/>
              <a:gd name="connsiteY5" fmla="*/ 6455826 h 6465218"/>
              <a:gd name="connsiteX6" fmla="*/ 0 w 11425936"/>
              <a:gd name="connsiteY6" fmla="*/ 0 h 6465218"/>
              <a:gd name="connsiteX0" fmla="*/ 0 w 11427721"/>
              <a:gd name="connsiteY0" fmla="*/ 0 h 6465218"/>
              <a:gd name="connsiteX1" fmla="*/ 11401206 w 11427721"/>
              <a:gd name="connsiteY1" fmla="*/ 20327 h 6465218"/>
              <a:gd name="connsiteX2" fmla="*/ 11425936 w 11427721"/>
              <a:gd name="connsiteY2" fmla="*/ 6381220 h 6465218"/>
              <a:gd name="connsiteX3" fmla="*/ 9849099 w 11427721"/>
              <a:gd name="connsiteY3" fmla="*/ 6390613 h 6465218"/>
              <a:gd name="connsiteX4" fmla="*/ 1233798 w 11427721"/>
              <a:gd name="connsiteY4" fmla="*/ 6465218 h 6465218"/>
              <a:gd name="connsiteX5" fmla="*/ 46197 w 11427721"/>
              <a:gd name="connsiteY5" fmla="*/ 6455826 h 6465218"/>
              <a:gd name="connsiteX6" fmla="*/ 0 w 11427721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46197 w 11428528"/>
              <a:gd name="connsiteY5" fmla="*/ 6455826 h 6465218"/>
              <a:gd name="connsiteX6" fmla="*/ 0 w 11428528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46197 w 11428528"/>
              <a:gd name="connsiteY5" fmla="*/ 6455826 h 6465218"/>
              <a:gd name="connsiteX6" fmla="*/ 0 w 11428528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46197 w 11428528"/>
              <a:gd name="connsiteY5" fmla="*/ 6455826 h 6465218"/>
              <a:gd name="connsiteX6" fmla="*/ 0 w 11428528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33470 w 11428528"/>
              <a:gd name="connsiteY5" fmla="*/ 6455826 h 6465218"/>
              <a:gd name="connsiteX6" fmla="*/ 0 w 11428528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33470 w 11428528"/>
              <a:gd name="connsiteY5" fmla="*/ 6455826 h 6465218"/>
              <a:gd name="connsiteX6" fmla="*/ 0 w 11428528"/>
              <a:gd name="connsiteY6" fmla="*/ 0 h 6465218"/>
              <a:gd name="connsiteX0" fmla="*/ 0 w 11428528"/>
              <a:gd name="connsiteY0" fmla="*/ 0 h 6465218"/>
              <a:gd name="connsiteX1" fmla="*/ 11401206 w 11428528"/>
              <a:gd name="connsiteY1" fmla="*/ 20327 h 6465218"/>
              <a:gd name="connsiteX2" fmla="*/ 11425936 w 11428528"/>
              <a:gd name="connsiteY2" fmla="*/ 6381220 h 6465218"/>
              <a:gd name="connsiteX3" fmla="*/ 9849099 w 11428528"/>
              <a:gd name="connsiteY3" fmla="*/ 6390613 h 6465218"/>
              <a:gd name="connsiteX4" fmla="*/ 1233798 w 11428528"/>
              <a:gd name="connsiteY4" fmla="*/ 6465218 h 6465218"/>
              <a:gd name="connsiteX5" fmla="*/ 33470 w 11428528"/>
              <a:gd name="connsiteY5" fmla="*/ 6455826 h 6465218"/>
              <a:gd name="connsiteX6" fmla="*/ 0 w 11428528"/>
              <a:gd name="connsiteY6" fmla="*/ 0 h 6465218"/>
              <a:gd name="connsiteX0" fmla="*/ 0 w 11426422"/>
              <a:gd name="connsiteY0" fmla="*/ 0 h 6465218"/>
              <a:gd name="connsiteX1" fmla="*/ 11401206 w 11426422"/>
              <a:gd name="connsiteY1" fmla="*/ 20327 h 6465218"/>
              <a:gd name="connsiteX2" fmla="*/ 11425936 w 11426422"/>
              <a:gd name="connsiteY2" fmla="*/ 6381220 h 6465218"/>
              <a:gd name="connsiteX3" fmla="*/ 9849099 w 11426422"/>
              <a:gd name="connsiteY3" fmla="*/ 6390613 h 6465218"/>
              <a:gd name="connsiteX4" fmla="*/ 1233798 w 11426422"/>
              <a:gd name="connsiteY4" fmla="*/ 6465218 h 6465218"/>
              <a:gd name="connsiteX5" fmla="*/ 33470 w 11426422"/>
              <a:gd name="connsiteY5" fmla="*/ 6455826 h 6465218"/>
              <a:gd name="connsiteX6" fmla="*/ 0 w 11426422"/>
              <a:gd name="connsiteY6" fmla="*/ 0 h 6465218"/>
              <a:gd name="connsiteX0" fmla="*/ 0 w 11420391"/>
              <a:gd name="connsiteY0" fmla="*/ 0 h 6465218"/>
              <a:gd name="connsiteX1" fmla="*/ 11401206 w 11420391"/>
              <a:gd name="connsiteY1" fmla="*/ 20327 h 6465218"/>
              <a:gd name="connsiteX2" fmla="*/ 11419571 w 11420391"/>
              <a:gd name="connsiteY2" fmla="*/ 6381220 h 6465218"/>
              <a:gd name="connsiteX3" fmla="*/ 9849099 w 11420391"/>
              <a:gd name="connsiteY3" fmla="*/ 6390613 h 6465218"/>
              <a:gd name="connsiteX4" fmla="*/ 1233798 w 11420391"/>
              <a:gd name="connsiteY4" fmla="*/ 6465218 h 6465218"/>
              <a:gd name="connsiteX5" fmla="*/ 33470 w 11420391"/>
              <a:gd name="connsiteY5" fmla="*/ 6455826 h 6465218"/>
              <a:gd name="connsiteX6" fmla="*/ 0 w 11420391"/>
              <a:gd name="connsiteY6" fmla="*/ 0 h 6465218"/>
              <a:gd name="connsiteX0" fmla="*/ 0 w 11420391"/>
              <a:gd name="connsiteY0" fmla="*/ 0 h 6465218"/>
              <a:gd name="connsiteX1" fmla="*/ 11401206 w 11420391"/>
              <a:gd name="connsiteY1" fmla="*/ 20327 h 6465218"/>
              <a:gd name="connsiteX2" fmla="*/ 11419571 w 11420391"/>
              <a:gd name="connsiteY2" fmla="*/ 6381220 h 6465218"/>
              <a:gd name="connsiteX3" fmla="*/ 9849099 w 11420391"/>
              <a:gd name="connsiteY3" fmla="*/ 6390613 h 6465218"/>
              <a:gd name="connsiteX4" fmla="*/ 1233798 w 11420391"/>
              <a:gd name="connsiteY4" fmla="*/ 6465218 h 6465218"/>
              <a:gd name="connsiteX5" fmla="*/ 33470 w 11420391"/>
              <a:gd name="connsiteY5" fmla="*/ 6455826 h 6465218"/>
              <a:gd name="connsiteX6" fmla="*/ 0 w 11420391"/>
              <a:gd name="connsiteY6" fmla="*/ 0 h 6465218"/>
              <a:gd name="connsiteX0" fmla="*/ 0 w 11420391"/>
              <a:gd name="connsiteY0" fmla="*/ 0 h 6465218"/>
              <a:gd name="connsiteX1" fmla="*/ 11401206 w 11420391"/>
              <a:gd name="connsiteY1" fmla="*/ 20327 h 6465218"/>
              <a:gd name="connsiteX2" fmla="*/ 11419571 w 11420391"/>
              <a:gd name="connsiteY2" fmla="*/ 6381220 h 6465218"/>
              <a:gd name="connsiteX3" fmla="*/ 9849099 w 11420391"/>
              <a:gd name="connsiteY3" fmla="*/ 6390613 h 6465218"/>
              <a:gd name="connsiteX4" fmla="*/ 1233798 w 11420391"/>
              <a:gd name="connsiteY4" fmla="*/ 6465218 h 6465218"/>
              <a:gd name="connsiteX5" fmla="*/ 27105 w 11420391"/>
              <a:gd name="connsiteY5" fmla="*/ 6455826 h 6465218"/>
              <a:gd name="connsiteX6" fmla="*/ 0 w 11420391"/>
              <a:gd name="connsiteY6" fmla="*/ 0 h 6465218"/>
              <a:gd name="connsiteX0" fmla="*/ 0 w 11420391"/>
              <a:gd name="connsiteY0" fmla="*/ 0 h 6472407"/>
              <a:gd name="connsiteX1" fmla="*/ 11401206 w 11420391"/>
              <a:gd name="connsiteY1" fmla="*/ 20327 h 6472407"/>
              <a:gd name="connsiteX2" fmla="*/ 11419571 w 11420391"/>
              <a:gd name="connsiteY2" fmla="*/ 6381220 h 6472407"/>
              <a:gd name="connsiteX3" fmla="*/ 9849099 w 11420391"/>
              <a:gd name="connsiteY3" fmla="*/ 6390613 h 6472407"/>
              <a:gd name="connsiteX4" fmla="*/ 1233798 w 11420391"/>
              <a:gd name="connsiteY4" fmla="*/ 6465218 h 6472407"/>
              <a:gd name="connsiteX5" fmla="*/ 27105 w 11420391"/>
              <a:gd name="connsiteY5" fmla="*/ 6472407 h 6472407"/>
              <a:gd name="connsiteX6" fmla="*/ 0 w 11420391"/>
              <a:gd name="connsiteY6" fmla="*/ 0 h 6472407"/>
              <a:gd name="connsiteX0" fmla="*/ 0 w 11420391"/>
              <a:gd name="connsiteY0" fmla="*/ 0 h 6472407"/>
              <a:gd name="connsiteX1" fmla="*/ 11401206 w 11420391"/>
              <a:gd name="connsiteY1" fmla="*/ 20327 h 6472407"/>
              <a:gd name="connsiteX2" fmla="*/ 11419571 w 11420391"/>
              <a:gd name="connsiteY2" fmla="*/ 6381220 h 6472407"/>
              <a:gd name="connsiteX3" fmla="*/ 9849099 w 11420391"/>
              <a:gd name="connsiteY3" fmla="*/ 6390613 h 6472407"/>
              <a:gd name="connsiteX4" fmla="*/ 1233798 w 11420391"/>
              <a:gd name="connsiteY4" fmla="*/ 6465218 h 6472407"/>
              <a:gd name="connsiteX5" fmla="*/ 20743 w 11420391"/>
              <a:gd name="connsiteY5" fmla="*/ 6472407 h 6472407"/>
              <a:gd name="connsiteX6" fmla="*/ 0 w 11420391"/>
              <a:gd name="connsiteY6" fmla="*/ 0 h 6472407"/>
              <a:gd name="connsiteX0" fmla="*/ 0 w 11420391"/>
              <a:gd name="connsiteY0" fmla="*/ 0 h 6472407"/>
              <a:gd name="connsiteX1" fmla="*/ 11401206 w 11420391"/>
              <a:gd name="connsiteY1" fmla="*/ 20327 h 6472407"/>
              <a:gd name="connsiteX2" fmla="*/ 11419571 w 11420391"/>
              <a:gd name="connsiteY2" fmla="*/ 6381220 h 6472407"/>
              <a:gd name="connsiteX3" fmla="*/ 9849099 w 11420391"/>
              <a:gd name="connsiteY3" fmla="*/ 6390613 h 6472407"/>
              <a:gd name="connsiteX4" fmla="*/ 1233798 w 11420391"/>
              <a:gd name="connsiteY4" fmla="*/ 6465218 h 6472407"/>
              <a:gd name="connsiteX5" fmla="*/ 20743 w 11420391"/>
              <a:gd name="connsiteY5" fmla="*/ 6472407 h 6472407"/>
              <a:gd name="connsiteX6" fmla="*/ 0 w 11420391"/>
              <a:gd name="connsiteY6" fmla="*/ 0 h 6472407"/>
              <a:gd name="connsiteX0" fmla="*/ 0 w 11426756"/>
              <a:gd name="connsiteY0" fmla="*/ 0 h 6464115"/>
              <a:gd name="connsiteX1" fmla="*/ 11407571 w 11426756"/>
              <a:gd name="connsiteY1" fmla="*/ 12035 h 6464115"/>
              <a:gd name="connsiteX2" fmla="*/ 11425936 w 11426756"/>
              <a:gd name="connsiteY2" fmla="*/ 6372928 h 6464115"/>
              <a:gd name="connsiteX3" fmla="*/ 9855464 w 11426756"/>
              <a:gd name="connsiteY3" fmla="*/ 6382321 h 6464115"/>
              <a:gd name="connsiteX4" fmla="*/ 1240163 w 11426756"/>
              <a:gd name="connsiteY4" fmla="*/ 6456926 h 6464115"/>
              <a:gd name="connsiteX5" fmla="*/ 27108 w 11426756"/>
              <a:gd name="connsiteY5" fmla="*/ 6464115 h 6464115"/>
              <a:gd name="connsiteX6" fmla="*/ 0 w 11426756"/>
              <a:gd name="connsiteY6" fmla="*/ 0 h 6464115"/>
              <a:gd name="connsiteX0" fmla="*/ 0 w 11439483"/>
              <a:gd name="connsiteY0" fmla="*/ 0 h 6464115"/>
              <a:gd name="connsiteX1" fmla="*/ 11420298 w 11439483"/>
              <a:gd name="connsiteY1" fmla="*/ 12035 h 6464115"/>
              <a:gd name="connsiteX2" fmla="*/ 11438663 w 11439483"/>
              <a:gd name="connsiteY2" fmla="*/ 6372928 h 6464115"/>
              <a:gd name="connsiteX3" fmla="*/ 9868191 w 11439483"/>
              <a:gd name="connsiteY3" fmla="*/ 6382321 h 6464115"/>
              <a:gd name="connsiteX4" fmla="*/ 1252890 w 11439483"/>
              <a:gd name="connsiteY4" fmla="*/ 6456926 h 6464115"/>
              <a:gd name="connsiteX5" fmla="*/ 39835 w 11439483"/>
              <a:gd name="connsiteY5" fmla="*/ 6464115 h 6464115"/>
              <a:gd name="connsiteX6" fmla="*/ 0 w 11439483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  <a:gd name="connsiteX0" fmla="*/ 0 w 11433121"/>
              <a:gd name="connsiteY0" fmla="*/ 0 h 6464115"/>
              <a:gd name="connsiteX1" fmla="*/ 11413936 w 11433121"/>
              <a:gd name="connsiteY1" fmla="*/ 12035 h 6464115"/>
              <a:gd name="connsiteX2" fmla="*/ 11432301 w 11433121"/>
              <a:gd name="connsiteY2" fmla="*/ 6372928 h 6464115"/>
              <a:gd name="connsiteX3" fmla="*/ 9861829 w 11433121"/>
              <a:gd name="connsiteY3" fmla="*/ 6382321 h 6464115"/>
              <a:gd name="connsiteX4" fmla="*/ 1246528 w 11433121"/>
              <a:gd name="connsiteY4" fmla="*/ 6456926 h 6464115"/>
              <a:gd name="connsiteX5" fmla="*/ 33473 w 11433121"/>
              <a:gd name="connsiteY5" fmla="*/ 6464115 h 6464115"/>
              <a:gd name="connsiteX6" fmla="*/ 0 w 11433121"/>
              <a:gd name="connsiteY6" fmla="*/ 0 h 6464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33121" h="6464115">
                <a:moveTo>
                  <a:pt x="0" y="0"/>
                </a:moveTo>
                <a:lnTo>
                  <a:pt x="11413936" y="12035"/>
                </a:lnTo>
                <a:cubicBezTo>
                  <a:pt x="11429955" y="2743001"/>
                  <a:pt x="11435369" y="4238817"/>
                  <a:pt x="11432301" y="6372928"/>
                </a:cubicBezTo>
                <a:lnTo>
                  <a:pt x="9861829" y="6382321"/>
                </a:lnTo>
                <a:lnTo>
                  <a:pt x="1246528" y="6456926"/>
                </a:lnTo>
                <a:lnTo>
                  <a:pt x="33473" y="6464115"/>
                </a:lnTo>
                <a:cubicBezTo>
                  <a:pt x="15463" y="3598565"/>
                  <a:pt x="11650" y="3329771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792000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Fügen Sie ein Bild über Klicken </a:t>
            </a:r>
            <a:br>
              <a:rPr lang="de-DE"/>
            </a:br>
            <a:r>
              <a:rPr lang="de-DE"/>
              <a:t>auf das Symbol ein. Alternativ kopieren </a:t>
            </a:r>
            <a:br>
              <a:rPr lang="de-DE"/>
            </a:br>
            <a:r>
              <a:rPr lang="de-DE"/>
              <a:t>Sie ein Bild in die Zwischenablage, </a:t>
            </a:r>
            <a:br>
              <a:rPr lang="de-DE"/>
            </a:br>
            <a:r>
              <a:rPr lang="de-DE"/>
              <a:t>wählen Sie den Platzhalter an und</a:t>
            </a:r>
            <a:br>
              <a:rPr lang="de-DE"/>
            </a:br>
            <a:r>
              <a:rPr lang="de-DE"/>
              <a:t>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125083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270E4FC1-248C-4DFF-AD9F-2E38011FBB77}"/>
              </a:ext>
            </a:extLst>
          </p:cNvPr>
          <p:cNvSpPr>
            <a:spLocks noGrp="1"/>
          </p:cNvSpPr>
          <p:nvPr>
            <p:ph type="media" sz="quarter" idx="25" hasCustomPrompt="1"/>
          </p:nvPr>
        </p:nvSpPr>
        <p:spPr>
          <a:xfrm>
            <a:off x="1" y="0"/>
            <a:ext cx="9143999" cy="5143500"/>
          </a:xfrm>
          <a:solidFill>
            <a:schemeClr val="bg1">
              <a:lumMod val="50000"/>
            </a:schemeClr>
          </a:solidFill>
        </p:spPr>
        <p:txBody>
          <a:bodyPr tIns="396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700">
                <a:solidFill>
                  <a:schemeClr val="bg1"/>
                </a:solidFill>
              </a:defRPr>
            </a:lvl1pPr>
          </a:lstStyle>
          <a:p>
            <a:r>
              <a:rPr lang="de-DE"/>
              <a:t>Video 16:9</a:t>
            </a:r>
          </a:p>
        </p:txBody>
      </p:sp>
      <p:sp>
        <p:nvSpPr>
          <p:cNvPr id="14" name="SmartArt-Platzhalter 2">
            <a:extLst>
              <a:ext uri="{FF2B5EF4-FFF2-40B4-BE49-F238E27FC236}">
                <a16:creationId xmlns:a16="http://schemas.microsoft.com/office/drawing/2014/main" id="{50C3788E-1004-4798-9C0C-03293EACBA0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>
          <a:xfrm>
            <a:off x="8364971" y="261815"/>
            <a:ext cx="319606" cy="220834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0" name="Datumsplatzhalter 2">
            <a:extLst>
              <a:ext uri="{FF2B5EF4-FFF2-40B4-BE49-F238E27FC236}">
                <a16:creationId xmlns:a16="http://schemas.microsoft.com/office/drawing/2014/main" id="{35BC937D-A306-4ADF-A743-CA30E4F9C121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>
          <a:xfrm>
            <a:off x="791580" y="5189240"/>
            <a:ext cx="477447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E90BDA72-70A3-4DC1-B845-F155D38DE7AC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11" name="Fußzeilenplatzhalter 8">
            <a:extLst>
              <a:ext uri="{FF2B5EF4-FFF2-40B4-BE49-F238E27FC236}">
                <a16:creationId xmlns:a16="http://schemas.microsoft.com/office/drawing/2014/main" id="{1E528A28-04D5-45A5-8C57-0772778BBEF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>
          <a:xfrm>
            <a:off x="470660" y="-213767"/>
            <a:ext cx="5396739" cy="138607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A9123E05-B868-418D-A073-C553DC8E5F07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>
          <a:xfrm>
            <a:off x="470661" y="5189239"/>
            <a:ext cx="284915" cy="13860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63692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weiß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43"/>
          <p:cNvSpPr txBox="1">
            <a:spLocks/>
          </p:cNvSpPr>
          <p:nvPr userDrawn="1"/>
        </p:nvSpPr>
        <p:spPr bwMode="blackGray">
          <a:xfrm>
            <a:off x="470661" y="974723"/>
            <a:ext cx="2603748" cy="57672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3600" b="1" noProof="1">
                <a:solidFill>
                  <a:schemeClr val="tx2"/>
                </a:solidFill>
                <a:latin typeface="GenosGFG" panose="020B0504040000000004" pitchFamily="34" charset="0"/>
              </a:rPr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 bwMode="blackGray">
          <a:xfrm>
            <a:off x="3276601" y="1023938"/>
            <a:ext cx="5399090" cy="3743324"/>
          </a:xfrm>
        </p:spPr>
        <p:txBody>
          <a:bodyPr/>
          <a:lstStyle>
            <a:lvl1pPr marL="216000" indent="-216000" defTabSz="43200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  <a:defRPr sz="1200" b="1" cap="none" baseline="0">
                <a:solidFill>
                  <a:schemeClr val="tx2"/>
                </a:solidFill>
              </a:defRPr>
            </a:lvl1pPr>
            <a:lvl2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2pPr>
            <a:lvl3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3pPr>
            <a:lvl4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4pPr>
            <a:lvl5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5pPr>
            <a:lvl6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6pPr>
            <a:lvl7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7pPr>
            <a:lvl8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8pPr>
            <a:lvl9pPr marL="432000" indent="-216000" algn="l" defTabSz="43200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Font typeface="+mj-lt"/>
              <a:buAutoNum type="alphaLcPeriod"/>
              <a:defRPr sz="12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noProof="1"/>
              <a:t>Ersten Agendapunkt einfügen</a:t>
            </a:r>
          </a:p>
          <a:p>
            <a:pPr lvl="1"/>
            <a:endParaRPr lang="de-DE" noProof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5E9E6C-E227-41BE-89AC-AA4065B3D4E6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87E1288E-53A5-4C08-A05F-8664CF89D9C4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D8F486-DB18-4476-83B0-C52D42E3F1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13B496-3F6A-499E-8DD8-B942FEB2A2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190994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C2EAF4-ACA4-423F-8055-25339C97F57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229409E-E2BD-4AF8-A7C5-41A1B03CF1B6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1CCE48-BA98-4BEF-AB08-DC7984D23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A1AB32A-2EB0-4CC1-A0C3-347979D5A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3DF4FBCA-C7CF-4CBD-9132-D2E2416468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70660" y="555625"/>
            <a:ext cx="8205027" cy="4211638"/>
          </a:xfrm>
        </p:spPr>
        <p:txBody>
          <a:bodyPr anchor="ctr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600" b="1" cap="none" baseline="0">
                <a:solidFill>
                  <a:schemeClr val="bg1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Dies ist eine Kapitelfolie</a:t>
            </a:r>
            <a:br>
              <a:rPr lang="de-DE" noProof="1"/>
            </a:br>
            <a:r>
              <a:rPr lang="de-DE" noProof="1"/>
              <a:t>die zweizeilig oder auch </a:t>
            </a:r>
            <a:br>
              <a:rPr lang="de-DE" noProof="1"/>
            </a:br>
            <a:r>
              <a:rPr lang="de-DE" noProof="1"/>
              <a:t>dreizeilig funktioniert</a:t>
            </a:r>
          </a:p>
        </p:txBody>
      </p:sp>
    </p:spTree>
    <p:extLst>
      <p:ext uri="{BB962C8B-B14F-4D97-AF65-F5344CB8AC3E}">
        <p14:creationId xmlns:p14="http://schemas.microsoft.com/office/powerpoint/2010/main" val="414127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C2EAF4-ACA4-423F-8055-25339C97F57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D67650F-23FA-44D4-8B43-A9884BFC79E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1CCE48-BA98-4BEF-AB08-DC7984D23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A1AB32A-2EB0-4CC1-A0C3-347979D5A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C899C80-B2D7-4900-B9D9-D8C35A20D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70660" y="555625"/>
            <a:ext cx="8205027" cy="4211638"/>
          </a:xfrm>
        </p:spPr>
        <p:txBody>
          <a:bodyPr anchor="ctr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600" b="1" cap="none" baseline="0">
                <a:solidFill>
                  <a:schemeClr val="bg1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Dies ist eine Zitatfolie</a:t>
            </a:r>
            <a:br>
              <a:rPr lang="de-DE" noProof="1"/>
            </a:br>
            <a:r>
              <a:rPr lang="de-DE" noProof="1"/>
              <a:t>die zweizeilig oder auch </a:t>
            </a:r>
            <a:br>
              <a:rPr lang="de-DE" noProof="1"/>
            </a:br>
            <a:r>
              <a:rPr lang="de-DE" noProof="1"/>
              <a:t>dreizeilig funktioniert</a:t>
            </a:r>
          </a:p>
        </p:txBody>
      </p:sp>
    </p:spTree>
    <p:extLst>
      <p:ext uri="{BB962C8B-B14F-4D97-AF65-F5344CB8AC3E}">
        <p14:creationId xmlns:p14="http://schemas.microsoft.com/office/powerpoint/2010/main" val="265756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/ Zitatfolie (weiß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C2EAF4-ACA4-423F-8055-25339C97F57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D1FA63B-48B1-4278-89DB-B8BE9945D03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1CCE48-BA98-4BEF-AB08-DC7984D23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>
                <a:solidFill>
                  <a:schemeClr val="bg1">
                    <a:lumMod val="65000"/>
                  </a:schemeClr>
                </a:solidFill>
              </a:defRPr>
            </a:lvl5pPr>
            <a:lvl6pPr>
              <a:defRPr>
                <a:solidFill>
                  <a:schemeClr val="bg1">
                    <a:lumMod val="65000"/>
                  </a:schemeClr>
                </a:solidFill>
              </a:defRPr>
            </a:lvl6pPr>
            <a:lvl7pPr>
              <a:defRPr>
                <a:solidFill>
                  <a:schemeClr val="bg1">
                    <a:lumMod val="65000"/>
                  </a:schemeClr>
                </a:solidFill>
              </a:defRPr>
            </a:lvl7pPr>
            <a:lvl8pPr>
              <a:defRPr>
                <a:solidFill>
                  <a:schemeClr val="bg1">
                    <a:lumMod val="65000"/>
                  </a:schemeClr>
                </a:solidFill>
              </a:defRPr>
            </a:lvl8pPr>
            <a:lvl9pPr>
              <a:defRPr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A1AB32A-2EB0-4CC1-A0C3-347979D5A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>
                <a:solidFill>
                  <a:schemeClr val="bg1">
                    <a:lumMod val="65000"/>
                  </a:schemeClr>
                </a:solidFill>
              </a:defRPr>
            </a:lvl5pPr>
            <a:lvl6pPr>
              <a:defRPr>
                <a:solidFill>
                  <a:schemeClr val="bg1">
                    <a:lumMod val="65000"/>
                  </a:schemeClr>
                </a:solidFill>
              </a:defRPr>
            </a:lvl6pPr>
            <a:lvl7pPr>
              <a:defRPr>
                <a:solidFill>
                  <a:schemeClr val="bg1">
                    <a:lumMod val="65000"/>
                  </a:schemeClr>
                </a:solidFill>
              </a:defRPr>
            </a:lvl7pPr>
            <a:lvl8pPr>
              <a:defRPr>
                <a:solidFill>
                  <a:schemeClr val="bg1">
                    <a:lumMod val="65000"/>
                  </a:schemeClr>
                </a:solidFill>
              </a:defRPr>
            </a:lvl8pPr>
            <a:lvl9pPr>
              <a:defRPr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9932A676-A803-4D4E-9950-1875BA905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0660" y="555625"/>
            <a:ext cx="8205027" cy="4211638"/>
          </a:xfrm>
        </p:spPr>
        <p:txBody>
          <a:bodyPr anchor="ctr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600" b="1" cap="none" baseline="0">
                <a:solidFill>
                  <a:schemeClr val="tx2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noProof="1"/>
              <a:t>Dies ist eine Kapitel-/ Zitatfolie</a:t>
            </a:r>
            <a:br>
              <a:rPr lang="de-DE" noProof="1"/>
            </a:br>
            <a:r>
              <a:rPr lang="de-DE" noProof="1"/>
              <a:t>die zweizeilig oder auch </a:t>
            </a:r>
            <a:br>
              <a:rPr lang="de-DE" noProof="1"/>
            </a:br>
            <a:r>
              <a:rPr lang="de-DE" noProof="1"/>
              <a:t>dreizeilig funktioniert</a:t>
            </a:r>
          </a:p>
        </p:txBody>
      </p:sp>
    </p:spTree>
    <p:extLst>
      <p:ext uri="{BB962C8B-B14F-4D97-AF65-F5344CB8AC3E}">
        <p14:creationId xmlns:p14="http://schemas.microsoft.com/office/powerpoint/2010/main" val="4568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32">
            <a:extLst>
              <a:ext uri="{FF2B5EF4-FFF2-40B4-BE49-F238E27FC236}">
                <a16:creationId xmlns:a16="http://schemas.microsoft.com/office/drawing/2014/main" id="{45CEA671-389B-43D1-84C1-C7CBBB1D80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9143999" cy="5143500"/>
          </a:xfrm>
          <a:custGeom>
            <a:avLst/>
            <a:gdLst>
              <a:gd name="connsiteX0" fmla="*/ 0 w 9143999"/>
              <a:gd name="connsiteY0" fmla="*/ 0 h 5143500"/>
              <a:gd name="connsiteX1" fmla="*/ 9143999 w 9143999"/>
              <a:gd name="connsiteY1" fmla="*/ 0 h 5143500"/>
              <a:gd name="connsiteX2" fmla="*/ 9143999 w 9143999"/>
              <a:gd name="connsiteY2" fmla="*/ 5143500 h 5143500"/>
              <a:gd name="connsiteX3" fmla="*/ 0 w 9143999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3999" h="5143500"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540000" rIns="0" anchor="t">
            <a:noAutofit/>
          </a:bodyPr>
          <a:lstStyle>
            <a:lvl1pPr algn="ctr">
              <a:spcBef>
                <a:spcPts val="100"/>
              </a:spcBef>
              <a:spcAft>
                <a:spcPts val="100"/>
              </a:spcAft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1"/>
              <a:t>Kopieren Sie ein Bild in die Zwischenablage, wählen Sie den Platzhalter an und klicken Sie einfügen. </a:t>
            </a:r>
            <a:br>
              <a:rPr lang="de-DE" noProof="1"/>
            </a:br>
            <a:r>
              <a:rPr lang="de-DE" noProof="1"/>
              <a:t>Setzen Sie das Bild anschließend in den Hintergrund. Dunkeln Sie Bilder bei Bedarf über Bildformat &gt; Korrekturen ab. </a:t>
            </a:r>
            <a:br>
              <a:rPr lang="de-DE" noProof="1"/>
            </a:br>
            <a:r>
              <a:rPr lang="de-DE" noProof="1"/>
              <a:t>Achten Sie darauf, dass das Logo im Vordergrund ist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8AD197-7E6B-41C9-87A6-B60B2B3D4C1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7D8015F-EB5B-437C-9FF3-60F5D0279A86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1E116C-3DAB-4959-9487-8DC7811C1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14" name="SmartArt-Platzhalter 2">
            <a:extLst>
              <a:ext uri="{FF2B5EF4-FFF2-40B4-BE49-F238E27FC236}">
                <a16:creationId xmlns:a16="http://schemas.microsoft.com/office/drawing/2014/main" id="{50C3788E-1004-4798-9C0C-03293EACBA0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>
          <a:xfrm>
            <a:off x="8364971" y="261815"/>
            <a:ext cx="319606" cy="220834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5" name="Foliennummernplatzhalter 11">
            <a:extLst>
              <a:ext uri="{FF2B5EF4-FFF2-40B4-BE49-F238E27FC236}">
                <a16:creationId xmlns:a16="http://schemas.microsoft.com/office/drawing/2014/main" id="{87AE7BC4-0637-4E58-9ABB-E4233AD48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70661" y="4886077"/>
            <a:ext cx="284915" cy="1386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06A65EB-4115-4165-A155-B12B580643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0660" y="555625"/>
            <a:ext cx="8205027" cy="4211638"/>
          </a:xfrm>
        </p:spPr>
        <p:txBody>
          <a:bodyPr anchor="ctr"/>
          <a:lstStyle>
            <a:lvl1pPr marL="0" indent="0" defTabSz="43200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3600" b="1" cap="none" baseline="0">
                <a:solidFill>
                  <a:schemeClr val="bg1"/>
                </a:solidFill>
              </a:defRPr>
            </a:lvl1pPr>
            <a:lvl2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2pPr>
            <a:lvl3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3pPr>
            <a:lvl4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4pPr>
            <a:lvl5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5pPr>
            <a:lvl6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6pPr>
            <a:lvl7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7pPr>
            <a:lvl8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8pPr>
            <a:lvl9pPr marL="0" indent="0" algn="l" defTabSz="4320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0" cap="none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1"/>
              <a:t>Dies ist eine Bildfolie</a:t>
            </a:r>
            <a:br>
              <a:rPr lang="de-DE" noProof="1"/>
            </a:br>
            <a:r>
              <a:rPr lang="de-DE" noProof="1"/>
              <a:t>die zweizeilig oder auch </a:t>
            </a:r>
            <a:br>
              <a:rPr lang="de-DE" noProof="1"/>
            </a:br>
            <a:r>
              <a:rPr lang="de-DE" noProof="1"/>
              <a:t>dreizeilig funktioniert</a:t>
            </a:r>
          </a:p>
        </p:txBody>
      </p:sp>
    </p:spTree>
    <p:extLst>
      <p:ext uri="{BB962C8B-B14F-4D97-AF65-F5344CB8AC3E}">
        <p14:creationId xmlns:p14="http://schemas.microsoft.com/office/powerpoint/2010/main" val="231276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0661" y="1240870"/>
            <a:ext cx="8205027" cy="3526393"/>
          </a:xfrm>
        </p:spPr>
        <p:txBody>
          <a:bodyPr/>
          <a:lstStyle/>
          <a:p>
            <a:pPr lvl="0"/>
            <a:r>
              <a:rPr lang="de-DE" noProof="1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1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6601" y="4886077"/>
            <a:ext cx="5399090" cy="133598"/>
          </a:xfrm>
        </p:spPr>
        <p:txBody>
          <a:bodyPr vert="horz" wrap="square" lIns="0" tIns="0" rIns="0" bIns="18000" rtlCol="0" anchor="b"/>
          <a:lstStyle>
            <a:lvl1pPr algn="r">
              <a:spcBef>
                <a:spcPts val="300"/>
              </a:spcBef>
              <a:spcAft>
                <a:spcPts val="300"/>
              </a:spcAft>
              <a:defRPr lang="de-DE" sz="600" baseline="0" dirty="0" smtClean="0">
                <a:solidFill>
                  <a:schemeClr val="bg1">
                    <a:lumMod val="65000"/>
                  </a:schemeClr>
                </a:solidFill>
              </a:defRPr>
            </a:lvl1pPr>
            <a:lvl2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2pPr>
            <a:lvl3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3pPr>
            <a:lvl4pPr marL="0" indent="0" algn="r">
              <a:spcBef>
                <a:spcPts val="300"/>
              </a:spcBef>
              <a:spcAft>
                <a:spcPts val="300"/>
              </a:spcAft>
              <a:buNone/>
              <a:defRPr lang="de-DE" sz="600" b="0" dirty="0" smtClean="0">
                <a:solidFill>
                  <a:schemeClr val="bg1">
                    <a:lumMod val="65000"/>
                  </a:schemeClr>
                </a:solidFill>
              </a:defRPr>
            </a:lvl4pPr>
            <a:lvl5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de-DE" sz="600" b="0" dirty="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6pPr>
            <a:lvl7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7pPr>
            <a:lvl8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600" b="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 noProof="1"/>
              <a:t>Quellen: Bildquellen/Statistikqu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5299BF-1753-4A3A-88B8-705501CF087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5F375CED-DB6C-463F-970B-D45DDFF9CF9A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A28484-8B80-41F9-A9ED-04C65C8EB8E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1"/>
              <a:t>BVR Fußzei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2961E6-5DB6-430E-A16A-B6A6942DA6F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E37CB091-918D-45F7-A5C8-9E20A6ED19B7}" type="slidenum">
              <a:rPr lang="de-DE" noProof="1" dirty="0" smtClean="0"/>
              <a:pPr/>
              <a:t>‹Nr.›</a:t>
            </a:fld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86785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70661" y="555627"/>
            <a:ext cx="5396510" cy="468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noProof="1"/>
              <a:t>Ein schöner Folientitel, </a:t>
            </a:r>
            <a:br>
              <a:rPr lang="de-DE" noProof="1"/>
            </a:br>
            <a:r>
              <a:rPr lang="de-DE" noProof="1"/>
              <a:t>der wenn möglich, über zwei Zeilen läuf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0662" y="1240870"/>
            <a:ext cx="8203444" cy="3526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  <a:p>
            <a:pPr lvl="5"/>
            <a:r>
              <a:rPr lang="de-DE" noProof="1"/>
              <a:t>Sechste Ebene</a:t>
            </a:r>
          </a:p>
          <a:p>
            <a:pPr lvl="6"/>
            <a:r>
              <a:rPr lang="de-DE" noProof="1"/>
              <a:t>Siebte Ebene</a:t>
            </a:r>
          </a:p>
          <a:p>
            <a:pPr lvl="7"/>
            <a:r>
              <a:rPr lang="de-DE" noProof="1"/>
              <a:t>Achte Ebene</a:t>
            </a:r>
          </a:p>
          <a:p>
            <a:pPr lvl="8"/>
            <a:r>
              <a:rPr lang="de-DE" noProof="1"/>
              <a:t>Neunte Eben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DD75EA6-5890-472D-953C-A66BA603E8A0}"/>
              </a:ext>
            </a:extLst>
          </p:cNvPr>
          <p:cNvGrpSpPr/>
          <p:nvPr userDrawn="1"/>
        </p:nvGrpSpPr>
        <p:grpSpPr bwMode="gray">
          <a:xfrm>
            <a:off x="468313" y="-163925"/>
            <a:ext cx="8207375" cy="81000"/>
            <a:chOff x="468313" y="-163925"/>
            <a:chExt cx="8207375" cy="81000"/>
          </a:xfrm>
        </p:grpSpPr>
        <p:cxnSp>
          <p:nvCxnSpPr>
            <p:cNvPr id="21" name="Straight Connector 20"/>
            <p:cNvCxnSpPr/>
            <p:nvPr/>
          </p:nvCxnSpPr>
          <p:spPr bwMode="gray">
            <a:xfrm rot="5400000">
              <a:off x="8635188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 bwMode="gray">
            <a:xfrm rot="5400000">
              <a:off x="6044388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 bwMode="gray">
            <a:xfrm rot="5400000">
              <a:off x="5826671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 bwMode="gray">
            <a:xfrm rot="5400000">
              <a:off x="4638225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 bwMode="gray">
            <a:xfrm rot="5400000">
              <a:off x="4423500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 bwMode="gray">
            <a:xfrm rot="5400000">
              <a:off x="3236100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 rot="5400000">
              <a:off x="3018613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 rot="5400000">
              <a:off x="427813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/>
          <p:cNvGrpSpPr/>
          <p:nvPr userDrawn="1"/>
        </p:nvGrpSpPr>
        <p:grpSpPr bwMode="gray">
          <a:xfrm>
            <a:off x="9216516" y="267989"/>
            <a:ext cx="115676" cy="4499274"/>
            <a:chOff x="-247152" y="357318"/>
            <a:chExt cx="115676" cy="5999032"/>
          </a:xfrm>
        </p:grpSpPr>
        <p:cxnSp>
          <p:nvCxnSpPr>
            <p:cNvPr id="46" name="Straight Connector 6"/>
            <p:cNvCxnSpPr/>
            <p:nvPr/>
          </p:nvCxnSpPr>
          <p:spPr bwMode="gray">
            <a:xfrm>
              <a:off x="-239476" y="357318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7"/>
            <p:cNvCxnSpPr/>
            <p:nvPr/>
          </p:nvCxnSpPr>
          <p:spPr bwMode="gray">
            <a:xfrm>
              <a:off x="-239476" y="740834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8"/>
            <p:cNvCxnSpPr/>
            <p:nvPr/>
          </p:nvCxnSpPr>
          <p:spPr bwMode="gray">
            <a:xfrm>
              <a:off x="-247152" y="136525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9"/>
            <p:cNvCxnSpPr/>
            <p:nvPr/>
          </p:nvCxnSpPr>
          <p:spPr bwMode="gray">
            <a:xfrm>
              <a:off x="-239476" y="1654493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10"/>
            <p:cNvCxnSpPr/>
            <p:nvPr/>
          </p:nvCxnSpPr>
          <p:spPr bwMode="gray">
            <a:xfrm>
              <a:off x="-239476" y="3860799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11"/>
            <p:cNvCxnSpPr/>
            <p:nvPr/>
          </p:nvCxnSpPr>
          <p:spPr bwMode="gray">
            <a:xfrm>
              <a:off x="-247152" y="4149479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12"/>
            <p:cNvCxnSpPr/>
            <p:nvPr/>
          </p:nvCxnSpPr>
          <p:spPr bwMode="gray">
            <a:xfrm>
              <a:off x="-239476" y="635635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791580" y="5189240"/>
            <a:ext cx="477447" cy="1386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noFill/>
              </a:defRPr>
            </a:lvl1pPr>
          </a:lstStyle>
          <a:p>
            <a:fld id="{FC6870CB-1A79-45FF-BC6D-6E2575AE9799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7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0660" y="269743"/>
            <a:ext cx="5396739" cy="138607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600">
                <a:solidFill>
                  <a:schemeClr val="bg1">
                    <a:lumMod val="65000"/>
                  </a:schemeClr>
                </a:solidFill>
              </a:defRPr>
            </a:lvl2pPr>
            <a:lvl3pPr marL="0">
              <a:defRPr sz="600">
                <a:solidFill>
                  <a:schemeClr val="bg1">
                    <a:lumMod val="65000"/>
                  </a:schemeClr>
                </a:solidFill>
              </a:defRPr>
            </a:lvl3pPr>
            <a:lvl4pPr marL="0">
              <a:defRPr sz="600">
                <a:solidFill>
                  <a:schemeClr val="bg1">
                    <a:lumMod val="65000"/>
                  </a:schemeClr>
                </a:solidFill>
              </a:defRPr>
            </a:lvl4pPr>
            <a:lvl5pPr marL="0">
              <a:defRPr sz="600">
                <a:solidFill>
                  <a:schemeClr val="bg1">
                    <a:lumMod val="65000"/>
                  </a:schemeClr>
                </a:solidFill>
              </a:defRPr>
            </a:lvl5pPr>
            <a:lvl6pPr marL="0" indent="0">
              <a:defRPr sz="600">
                <a:solidFill>
                  <a:schemeClr val="bg1">
                    <a:lumMod val="65000"/>
                  </a:schemeClr>
                </a:solidFill>
              </a:defRPr>
            </a:lvl6pPr>
            <a:lvl7pPr marL="0">
              <a:defRPr sz="600">
                <a:solidFill>
                  <a:schemeClr val="bg1">
                    <a:lumMod val="65000"/>
                  </a:schemeClr>
                </a:solidFill>
              </a:defRPr>
            </a:lvl7pPr>
            <a:lvl8pPr marL="0">
              <a:defRPr sz="600">
                <a:solidFill>
                  <a:schemeClr val="bg1">
                    <a:lumMod val="65000"/>
                  </a:schemeClr>
                </a:solidFill>
              </a:defRPr>
            </a:lvl8pPr>
            <a:lvl9pPr marL="0">
              <a:defRPr sz="60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indent="-457200" defTabSz="0"/>
            <a:r>
              <a:rPr lang="de-DE" noProof="1"/>
              <a:t>BVR Fußzeile</a:t>
            </a:r>
          </a:p>
        </p:txBody>
      </p:sp>
      <p:sp>
        <p:nvSpPr>
          <p:cNvPr id="75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470661" y="4886077"/>
            <a:ext cx="284915" cy="1386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>
              <a:defRPr lang="de-DE" sz="600" b="0" kern="1200" baseline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>
              <a:defRPr sz="600">
                <a:solidFill>
                  <a:schemeClr val="bg1">
                    <a:lumMod val="65000"/>
                  </a:schemeClr>
                </a:solidFill>
              </a:defRPr>
            </a:lvl2pPr>
            <a:lvl3pPr algn="l">
              <a:defRPr sz="600">
                <a:solidFill>
                  <a:schemeClr val="bg1">
                    <a:lumMod val="65000"/>
                  </a:schemeClr>
                </a:solidFill>
              </a:defRPr>
            </a:lvl3pPr>
            <a:lvl4pPr marL="914400" indent="-914400" algn="l">
              <a:defRPr sz="600">
                <a:solidFill>
                  <a:schemeClr val="bg1">
                    <a:lumMod val="65000"/>
                  </a:schemeClr>
                </a:solidFill>
              </a:defRPr>
            </a:lvl4pPr>
            <a:lvl5pPr marL="0" indent="0">
              <a:defRPr sz="600">
                <a:solidFill>
                  <a:schemeClr val="bg1">
                    <a:lumMod val="65000"/>
                  </a:schemeClr>
                </a:solidFill>
              </a:defRPr>
            </a:lvl5pPr>
            <a:lvl6pPr marL="0" indent="0" algn="l">
              <a:defRPr sz="600">
                <a:solidFill>
                  <a:schemeClr val="bg1">
                    <a:lumMod val="65000"/>
                  </a:schemeClr>
                </a:solidFill>
              </a:defRPr>
            </a:lvl6pPr>
            <a:lvl7pPr marL="109538" indent="0">
              <a:defRPr sz="600">
                <a:solidFill>
                  <a:schemeClr val="bg1">
                    <a:lumMod val="65000"/>
                  </a:schemeClr>
                </a:solidFill>
              </a:defRPr>
            </a:lvl7pPr>
            <a:lvl8pPr marL="0" indent="0">
              <a:defRPr sz="600">
                <a:solidFill>
                  <a:schemeClr val="bg1">
                    <a:lumMod val="65000"/>
                  </a:schemeClr>
                </a:solidFill>
              </a:defRPr>
            </a:lvl8pPr>
            <a:lvl9pPr marL="0" indent="0" algn="l">
              <a:defRPr sz="600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defTabSz="0"/>
            <a:fld id="{E37CB091-918D-45F7-A5C8-9E20A6ED19B7}" type="slidenum">
              <a:rPr lang="de-DE" noProof="1" dirty="0" smtClean="0"/>
              <a:pPr defTabSz="0"/>
              <a:t>‹Nr.›</a:t>
            </a:fld>
            <a:endParaRPr lang="de-DE" noProof="1"/>
          </a:p>
        </p:txBody>
      </p: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61E1BE12-0FE0-42B3-9E86-E88BF81FDCA0}"/>
              </a:ext>
            </a:extLst>
          </p:cNvPr>
          <p:cNvGrpSpPr/>
          <p:nvPr userDrawn="1"/>
        </p:nvGrpSpPr>
        <p:grpSpPr bwMode="gray">
          <a:xfrm>
            <a:off x="-247152" y="267989"/>
            <a:ext cx="115676" cy="4499274"/>
            <a:chOff x="-247152" y="357318"/>
            <a:chExt cx="115676" cy="5999032"/>
          </a:xfrm>
        </p:grpSpPr>
        <p:cxnSp>
          <p:nvCxnSpPr>
            <p:cNvPr id="109" name="Straight Connector 6">
              <a:extLst>
                <a:ext uri="{FF2B5EF4-FFF2-40B4-BE49-F238E27FC236}">
                  <a16:creationId xmlns:a16="http://schemas.microsoft.com/office/drawing/2014/main" id="{150C24E1-52AE-403F-BC91-49E18447C16E}"/>
                </a:ext>
              </a:extLst>
            </p:cNvPr>
            <p:cNvCxnSpPr/>
            <p:nvPr/>
          </p:nvCxnSpPr>
          <p:spPr bwMode="gray">
            <a:xfrm>
              <a:off x="-239476" y="357318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7">
              <a:extLst>
                <a:ext uri="{FF2B5EF4-FFF2-40B4-BE49-F238E27FC236}">
                  <a16:creationId xmlns:a16="http://schemas.microsoft.com/office/drawing/2014/main" id="{BDC0D0ED-54BC-420E-9111-932D5B6A3448}"/>
                </a:ext>
              </a:extLst>
            </p:cNvPr>
            <p:cNvCxnSpPr/>
            <p:nvPr/>
          </p:nvCxnSpPr>
          <p:spPr bwMode="gray">
            <a:xfrm>
              <a:off x="-239476" y="740834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8">
              <a:extLst>
                <a:ext uri="{FF2B5EF4-FFF2-40B4-BE49-F238E27FC236}">
                  <a16:creationId xmlns:a16="http://schemas.microsoft.com/office/drawing/2014/main" id="{E1601B66-FF62-42F4-8A11-4A9B60383B20}"/>
                </a:ext>
              </a:extLst>
            </p:cNvPr>
            <p:cNvCxnSpPr/>
            <p:nvPr/>
          </p:nvCxnSpPr>
          <p:spPr bwMode="gray">
            <a:xfrm>
              <a:off x="-247152" y="136525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9">
              <a:extLst>
                <a:ext uri="{FF2B5EF4-FFF2-40B4-BE49-F238E27FC236}">
                  <a16:creationId xmlns:a16="http://schemas.microsoft.com/office/drawing/2014/main" id="{299221B8-EBA0-47C2-8418-A3946B0EEB97}"/>
                </a:ext>
              </a:extLst>
            </p:cNvPr>
            <p:cNvCxnSpPr/>
            <p:nvPr/>
          </p:nvCxnSpPr>
          <p:spPr bwMode="gray">
            <a:xfrm>
              <a:off x="-239476" y="1654493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0">
              <a:extLst>
                <a:ext uri="{FF2B5EF4-FFF2-40B4-BE49-F238E27FC236}">
                  <a16:creationId xmlns:a16="http://schemas.microsoft.com/office/drawing/2014/main" id="{041D4E17-C42A-4993-82F2-9E164E95FC82}"/>
                </a:ext>
              </a:extLst>
            </p:cNvPr>
            <p:cNvCxnSpPr/>
            <p:nvPr/>
          </p:nvCxnSpPr>
          <p:spPr bwMode="gray">
            <a:xfrm>
              <a:off x="-239476" y="3860799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">
              <a:extLst>
                <a:ext uri="{FF2B5EF4-FFF2-40B4-BE49-F238E27FC236}">
                  <a16:creationId xmlns:a16="http://schemas.microsoft.com/office/drawing/2014/main" id="{AB80F9BB-A88B-4960-AB3D-D925EF221F54}"/>
                </a:ext>
              </a:extLst>
            </p:cNvPr>
            <p:cNvCxnSpPr/>
            <p:nvPr/>
          </p:nvCxnSpPr>
          <p:spPr bwMode="gray">
            <a:xfrm>
              <a:off x="-247152" y="4149479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2">
              <a:extLst>
                <a:ext uri="{FF2B5EF4-FFF2-40B4-BE49-F238E27FC236}">
                  <a16:creationId xmlns:a16="http://schemas.microsoft.com/office/drawing/2014/main" id="{317F75CD-5A9F-4115-9164-559F8F742EAC}"/>
                </a:ext>
              </a:extLst>
            </p:cNvPr>
            <p:cNvCxnSpPr/>
            <p:nvPr/>
          </p:nvCxnSpPr>
          <p:spPr bwMode="gray">
            <a:xfrm>
              <a:off x="-239476" y="635635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AF732875-B34B-48F3-8380-C255B1AB5BBC}"/>
              </a:ext>
            </a:extLst>
          </p:cNvPr>
          <p:cNvGrpSpPr/>
          <p:nvPr userDrawn="1"/>
        </p:nvGrpSpPr>
        <p:grpSpPr bwMode="gray">
          <a:xfrm>
            <a:off x="468313" y="5258544"/>
            <a:ext cx="8207375" cy="81000"/>
            <a:chOff x="468313" y="-163925"/>
            <a:chExt cx="8207375" cy="81000"/>
          </a:xfrm>
        </p:grpSpPr>
        <p:cxnSp>
          <p:nvCxnSpPr>
            <p:cNvPr id="126" name="Straight Connector 20">
              <a:extLst>
                <a:ext uri="{FF2B5EF4-FFF2-40B4-BE49-F238E27FC236}">
                  <a16:creationId xmlns:a16="http://schemas.microsoft.com/office/drawing/2014/main" id="{62420C51-8D15-4B76-952E-E40815A455E2}"/>
                </a:ext>
              </a:extLst>
            </p:cNvPr>
            <p:cNvCxnSpPr/>
            <p:nvPr/>
          </p:nvCxnSpPr>
          <p:spPr bwMode="gray">
            <a:xfrm rot="5400000">
              <a:off x="8635188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21">
              <a:extLst>
                <a:ext uri="{FF2B5EF4-FFF2-40B4-BE49-F238E27FC236}">
                  <a16:creationId xmlns:a16="http://schemas.microsoft.com/office/drawing/2014/main" id="{D3DCC874-8716-4A3C-87D4-B41220B4BDAC}"/>
                </a:ext>
              </a:extLst>
            </p:cNvPr>
            <p:cNvCxnSpPr/>
            <p:nvPr/>
          </p:nvCxnSpPr>
          <p:spPr bwMode="gray">
            <a:xfrm rot="5400000">
              <a:off x="6044388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22">
              <a:extLst>
                <a:ext uri="{FF2B5EF4-FFF2-40B4-BE49-F238E27FC236}">
                  <a16:creationId xmlns:a16="http://schemas.microsoft.com/office/drawing/2014/main" id="{59E5FE90-388A-48DA-8A2F-EE77938BA713}"/>
                </a:ext>
              </a:extLst>
            </p:cNvPr>
            <p:cNvCxnSpPr/>
            <p:nvPr/>
          </p:nvCxnSpPr>
          <p:spPr bwMode="gray">
            <a:xfrm rot="5400000">
              <a:off x="5826671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24">
              <a:extLst>
                <a:ext uri="{FF2B5EF4-FFF2-40B4-BE49-F238E27FC236}">
                  <a16:creationId xmlns:a16="http://schemas.microsoft.com/office/drawing/2014/main" id="{79B34F69-5253-40DF-8811-1B51C14278D9}"/>
                </a:ext>
              </a:extLst>
            </p:cNvPr>
            <p:cNvCxnSpPr/>
            <p:nvPr/>
          </p:nvCxnSpPr>
          <p:spPr bwMode="gray">
            <a:xfrm rot="5400000">
              <a:off x="4638225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25">
              <a:extLst>
                <a:ext uri="{FF2B5EF4-FFF2-40B4-BE49-F238E27FC236}">
                  <a16:creationId xmlns:a16="http://schemas.microsoft.com/office/drawing/2014/main" id="{AE3CBB4E-D2E4-456B-BFB5-EE2A4F8D798F}"/>
                </a:ext>
              </a:extLst>
            </p:cNvPr>
            <p:cNvCxnSpPr/>
            <p:nvPr/>
          </p:nvCxnSpPr>
          <p:spPr bwMode="gray">
            <a:xfrm rot="5400000">
              <a:off x="4423500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26">
              <a:extLst>
                <a:ext uri="{FF2B5EF4-FFF2-40B4-BE49-F238E27FC236}">
                  <a16:creationId xmlns:a16="http://schemas.microsoft.com/office/drawing/2014/main" id="{418C6632-BD05-4C60-BC37-AE474644259C}"/>
                </a:ext>
              </a:extLst>
            </p:cNvPr>
            <p:cNvCxnSpPr/>
            <p:nvPr/>
          </p:nvCxnSpPr>
          <p:spPr bwMode="gray">
            <a:xfrm rot="5400000">
              <a:off x="3236100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27">
              <a:extLst>
                <a:ext uri="{FF2B5EF4-FFF2-40B4-BE49-F238E27FC236}">
                  <a16:creationId xmlns:a16="http://schemas.microsoft.com/office/drawing/2014/main" id="{6CE38FC0-B933-464F-8DC9-757ECC2E4B2A}"/>
                </a:ext>
              </a:extLst>
            </p:cNvPr>
            <p:cNvCxnSpPr/>
            <p:nvPr/>
          </p:nvCxnSpPr>
          <p:spPr bwMode="gray">
            <a:xfrm rot="5400000">
              <a:off x="3018613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28">
              <a:extLst>
                <a:ext uri="{FF2B5EF4-FFF2-40B4-BE49-F238E27FC236}">
                  <a16:creationId xmlns:a16="http://schemas.microsoft.com/office/drawing/2014/main" id="{9484E80C-4E6C-4038-8FC0-ADC805613582}"/>
                </a:ext>
              </a:extLst>
            </p:cNvPr>
            <p:cNvCxnSpPr/>
            <p:nvPr/>
          </p:nvCxnSpPr>
          <p:spPr bwMode="gray">
            <a:xfrm rot="5400000">
              <a:off x="427813" y="-123425"/>
              <a:ext cx="81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4" name="Group 5">
            <a:extLst>
              <a:ext uri="{FF2B5EF4-FFF2-40B4-BE49-F238E27FC236}">
                <a16:creationId xmlns:a16="http://schemas.microsoft.com/office/drawing/2014/main" id="{1C3D82EA-F56D-4041-B887-2777D384F92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64971" y="261815"/>
            <a:ext cx="319606" cy="220834"/>
            <a:chOff x="-1653" y="844"/>
            <a:chExt cx="3815" cy="2636"/>
          </a:xfrm>
        </p:grpSpPr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87789124-E19F-443F-8A74-87911515D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1653" y="844"/>
              <a:ext cx="3815" cy="26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F5EB1E3F-047E-4601-9900-ABF245BD6D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958"/>
              <a:ext cx="3567" cy="1800"/>
            </a:xfrm>
            <a:custGeom>
              <a:avLst/>
              <a:gdLst>
                <a:gd name="T0" fmla="*/ 0 w 1510"/>
                <a:gd name="T1" fmla="*/ 0 h 762"/>
                <a:gd name="T2" fmla="*/ 1510 w 1510"/>
                <a:gd name="T3" fmla="*/ 0 h 762"/>
                <a:gd name="T4" fmla="*/ 1510 w 1510"/>
                <a:gd name="T5" fmla="*/ 761 h 762"/>
                <a:gd name="T6" fmla="*/ 950 w 1510"/>
                <a:gd name="T7" fmla="*/ 761 h 762"/>
                <a:gd name="T8" fmla="*/ 974 w 1510"/>
                <a:gd name="T9" fmla="*/ 634 h 762"/>
                <a:gd name="T10" fmla="*/ 1009 w 1510"/>
                <a:gd name="T11" fmla="*/ 452 h 762"/>
                <a:gd name="T12" fmla="*/ 1012 w 1510"/>
                <a:gd name="T13" fmla="*/ 438 h 762"/>
                <a:gd name="T14" fmla="*/ 1045 w 1510"/>
                <a:gd name="T15" fmla="*/ 416 h 762"/>
                <a:gd name="T16" fmla="*/ 1062 w 1510"/>
                <a:gd name="T17" fmla="*/ 450 h 762"/>
                <a:gd name="T18" fmla="*/ 1052 w 1510"/>
                <a:gd name="T19" fmla="*/ 521 h 762"/>
                <a:gd name="T20" fmla="*/ 1074 w 1510"/>
                <a:gd name="T21" fmla="*/ 562 h 762"/>
                <a:gd name="T22" fmla="*/ 1164 w 1510"/>
                <a:gd name="T23" fmla="*/ 559 h 762"/>
                <a:gd name="T24" fmla="*/ 1188 w 1510"/>
                <a:gd name="T25" fmla="*/ 532 h 762"/>
                <a:gd name="T26" fmla="*/ 1259 w 1510"/>
                <a:gd name="T27" fmla="*/ 238 h 762"/>
                <a:gd name="T28" fmla="*/ 1258 w 1510"/>
                <a:gd name="T29" fmla="*/ 234 h 762"/>
                <a:gd name="T30" fmla="*/ 1253 w 1510"/>
                <a:gd name="T31" fmla="*/ 232 h 762"/>
                <a:gd name="T32" fmla="*/ 991 w 1510"/>
                <a:gd name="T33" fmla="*/ 238 h 762"/>
                <a:gd name="T34" fmla="*/ 853 w 1510"/>
                <a:gd name="T35" fmla="*/ 352 h 762"/>
                <a:gd name="T36" fmla="*/ 781 w 1510"/>
                <a:gd name="T37" fmla="*/ 654 h 762"/>
                <a:gd name="T38" fmla="*/ 757 w 1510"/>
                <a:gd name="T39" fmla="*/ 762 h 762"/>
                <a:gd name="T40" fmla="*/ 752 w 1510"/>
                <a:gd name="T41" fmla="*/ 762 h 762"/>
                <a:gd name="T42" fmla="*/ 746 w 1510"/>
                <a:gd name="T43" fmla="*/ 741 h 762"/>
                <a:gd name="T44" fmla="*/ 633 w 1510"/>
                <a:gd name="T45" fmla="*/ 250 h 762"/>
                <a:gd name="T46" fmla="*/ 613 w 1510"/>
                <a:gd name="T47" fmla="*/ 231 h 762"/>
                <a:gd name="T48" fmla="*/ 267 w 1510"/>
                <a:gd name="T49" fmla="*/ 232 h 762"/>
                <a:gd name="T50" fmla="*/ 253 w 1510"/>
                <a:gd name="T51" fmla="*/ 233 h 762"/>
                <a:gd name="T52" fmla="*/ 277 w 1510"/>
                <a:gd name="T53" fmla="*/ 332 h 762"/>
                <a:gd name="T54" fmla="*/ 293 w 1510"/>
                <a:gd name="T55" fmla="*/ 402 h 762"/>
                <a:gd name="T56" fmla="*/ 312 w 1510"/>
                <a:gd name="T57" fmla="*/ 417 h 762"/>
                <a:gd name="T58" fmla="*/ 456 w 1510"/>
                <a:gd name="T59" fmla="*/ 417 h 762"/>
                <a:gd name="T60" fmla="*/ 474 w 1510"/>
                <a:gd name="T61" fmla="*/ 430 h 762"/>
                <a:gd name="T62" fmla="*/ 547 w 1510"/>
                <a:gd name="T63" fmla="*/ 755 h 762"/>
                <a:gd name="T64" fmla="*/ 547 w 1510"/>
                <a:gd name="T65" fmla="*/ 762 h 762"/>
                <a:gd name="T66" fmla="*/ 0 w 1510"/>
                <a:gd name="T67" fmla="*/ 762 h 762"/>
                <a:gd name="T68" fmla="*/ 0 w 1510"/>
                <a:gd name="T69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0" h="762">
                  <a:moveTo>
                    <a:pt x="0" y="0"/>
                  </a:moveTo>
                  <a:cubicBezTo>
                    <a:pt x="504" y="0"/>
                    <a:pt x="1007" y="0"/>
                    <a:pt x="1510" y="0"/>
                  </a:cubicBezTo>
                  <a:cubicBezTo>
                    <a:pt x="1510" y="254"/>
                    <a:pt x="1510" y="507"/>
                    <a:pt x="1510" y="761"/>
                  </a:cubicBezTo>
                  <a:cubicBezTo>
                    <a:pt x="1324" y="761"/>
                    <a:pt x="1138" y="761"/>
                    <a:pt x="950" y="761"/>
                  </a:cubicBezTo>
                  <a:cubicBezTo>
                    <a:pt x="958" y="718"/>
                    <a:pt x="965" y="676"/>
                    <a:pt x="974" y="634"/>
                  </a:cubicBezTo>
                  <a:cubicBezTo>
                    <a:pt x="985" y="573"/>
                    <a:pt x="997" y="512"/>
                    <a:pt x="1009" y="452"/>
                  </a:cubicBezTo>
                  <a:cubicBezTo>
                    <a:pt x="1010" y="447"/>
                    <a:pt x="1011" y="442"/>
                    <a:pt x="1012" y="438"/>
                  </a:cubicBezTo>
                  <a:cubicBezTo>
                    <a:pt x="1018" y="423"/>
                    <a:pt x="1028" y="412"/>
                    <a:pt x="1045" y="416"/>
                  </a:cubicBezTo>
                  <a:cubicBezTo>
                    <a:pt x="1062" y="420"/>
                    <a:pt x="1065" y="434"/>
                    <a:pt x="1062" y="450"/>
                  </a:cubicBezTo>
                  <a:cubicBezTo>
                    <a:pt x="1059" y="473"/>
                    <a:pt x="1056" y="497"/>
                    <a:pt x="1052" y="521"/>
                  </a:cubicBezTo>
                  <a:cubicBezTo>
                    <a:pt x="1048" y="541"/>
                    <a:pt x="1056" y="555"/>
                    <a:pt x="1074" y="562"/>
                  </a:cubicBezTo>
                  <a:cubicBezTo>
                    <a:pt x="1104" y="576"/>
                    <a:pt x="1136" y="576"/>
                    <a:pt x="1164" y="559"/>
                  </a:cubicBezTo>
                  <a:cubicBezTo>
                    <a:pt x="1175" y="554"/>
                    <a:pt x="1186" y="542"/>
                    <a:pt x="1188" y="532"/>
                  </a:cubicBezTo>
                  <a:cubicBezTo>
                    <a:pt x="1213" y="434"/>
                    <a:pt x="1235" y="336"/>
                    <a:pt x="1259" y="238"/>
                  </a:cubicBezTo>
                  <a:cubicBezTo>
                    <a:pt x="1259" y="237"/>
                    <a:pt x="1258" y="236"/>
                    <a:pt x="1258" y="234"/>
                  </a:cubicBezTo>
                  <a:cubicBezTo>
                    <a:pt x="1256" y="234"/>
                    <a:pt x="1254" y="232"/>
                    <a:pt x="1253" y="232"/>
                  </a:cubicBezTo>
                  <a:cubicBezTo>
                    <a:pt x="1165" y="234"/>
                    <a:pt x="1078" y="234"/>
                    <a:pt x="991" y="238"/>
                  </a:cubicBezTo>
                  <a:cubicBezTo>
                    <a:pt x="918" y="242"/>
                    <a:pt x="870" y="280"/>
                    <a:pt x="853" y="352"/>
                  </a:cubicBezTo>
                  <a:cubicBezTo>
                    <a:pt x="828" y="453"/>
                    <a:pt x="805" y="553"/>
                    <a:pt x="781" y="654"/>
                  </a:cubicBezTo>
                  <a:cubicBezTo>
                    <a:pt x="773" y="690"/>
                    <a:pt x="765" y="726"/>
                    <a:pt x="757" y="762"/>
                  </a:cubicBezTo>
                  <a:cubicBezTo>
                    <a:pt x="755" y="762"/>
                    <a:pt x="754" y="762"/>
                    <a:pt x="752" y="762"/>
                  </a:cubicBezTo>
                  <a:cubicBezTo>
                    <a:pt x="750" y="755"/>
                    <a:pt x="748" y="748"/>
                    <a:pt x="746" y="741"/>
                  </a:cubicBezTo>
                  <a:cubicBezTo>
                    <a:pt x="708" y="577"/>
                    <a:pt x="670" y="414"/>
                    <a:pt x="633" y="250"/>
                  </a:cubicBezTo>
                  <a:cubicBezTo>
                    <a:pt x="630" y="238"/>
                    <a:pt x="628" y="231"/>
                    <a:pt x="613" y="231"/>
                  </a:cubicBezTo>
                  <a:cubicBezTo>
                    <a:pt x="498" y="232"/>
                    <a:pt x="383" y="232"/>
                    <a:pt x="267" y="232"/>
                  </a:cubicBezTo>
                  <a:cubicBezTo>
                    <a:pt x="263" y="232"/>
                    <a:pt x="260" y="232"/>
                    <a:pt x="253" y="233"/>
                  </a:cubicBezTo>
                  <a:cubicBezTo>
                    <a:pt x="261" y="267"/>
                    <a:pt x="269" y="300"/>
                    <a:pt x="277" y="332"/>
                  </a:cubicBezTo>
                  <a:cubicBezTo>
                    <a:pt x="282" y="356"/>
                    <a:pt x="288" y="379"/>
                    <a:pt x="293" y="402"/>
                  </a:cubicBezTo>
                  <a:cubicBezTo>
                    <a:pt x="295" y="414"/>
                    <a:pt x="300" y="418"/>
                    <a:pt x="312" y="417"/>
                  </a:cubicBezTo>
                  <a:cubicBezTo>
                    <a:pt x="360" y="417"/>
                    <a:pt x="408" y="417"/>
                    <a:pt x="456" y="417"/>
                  </a:cubicBezTo>
                  <a:cubicBezTo>
                    <a:pt x="465" y="417"/>
                    <a:pt x="471" y="418"/>
                    <a:pt x="474" y="430"/>
                  </a:cubicBezTo>
                  <a:cubicBezTo>
                    <a:pt x="498" y="538"/>
                    <a:pt x="522" y="647"/>
                    <a:pt x="547" y="755"/>
                  </a:cubicBezTo>
                  <a:cubicBezTo>
                    <a:pt x="547" y="757"/>
                    <a:pt x="547" y="759"/>
                    <a:pt x="547" y="762"/>
                  </a:cubicBezTo>
                  <a:cubicBezTo>
                    <a:pt x="365" y="762"/>
                    <a:pt x="183" y="762"/>
                    <a:pt x="0" y="762"/>
                  </a:cubicBezTo>
                  <a:cubicBezTo>
                    <a:pt x="0" y="508"/>
                    <a:pt x="0" y="255"/>
                    <a:pt x="0" y="0"/>
                  </a:cubicBezTo>
                  <a:close/>
                </a:path>
              </a:pathLst>
            </a:custGeom>
            <a:solidFill>
              <a:srgbClr val="0267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137" name="Freeform 11">
              <a:extLst>
                <a:ext uri="{FF2B5EF4-FFF2-40B4-BE49-F238E27FC236}">
                  <a16:creationId xmlns:a16="http://schemas.microsoft.com/office/drawing/2014/main" id="{0FDF2F47-9FF5-4CE8-A75A-7C4109C5783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3" y="2939"/>
              <a:ext cx="1434" cy="426"/>
            </a:xfrm>
            <a:custGeom>
              <a:avLst/>
              <a:gdLst>
                <a:gd name="T0" fmla="*/ 0 w 607"/>
                <a:gd name="T1" fmla="*/ 180 h 180"/>
                <a:gd name="T2" fmla="*/ 34 w 607"/>
                <a:gd name="T3" fmla="*/ 0 h 180"/>
                <a:gd name="T4" fmla="*/ 607 w 607"/>
                <a:gd name="T5" fmla="*/ 0 h 180"/>
                <a:gd name="T6" fmla="*/ 607 w 607"/>
                <a:gd name="T7" fmla="*/ 180 h 180"/>
                <a:gd name="T8" fmla="*/ 0 w 607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7" h="180">
                  <a:moveTo>
                    <a:pt x="0" y="180"/>
                  </a:moveTo>
                  <a:cubicBezTo>
                    <a:pt x="11" y="120"/>
                    <a:pt x="23" y="60"/>
                    <a:pt x="34" y="0"/>
                  </a:cubicBezTo>
                  <a:cubicBezTo>
                    <a:pt x="225" y="0"/>
                    <a:pt x="416" y="0"/>
                    <a:pt x="607" y="0"/>
                  </a:cubicBezTo>
                  <a:cubicBezTo>
                    <a:pt x="607" y="60"/>
                    <a:pt x="607" y="119"/>
                    <a:pt x="607" y="180"/>
                  </a:cubicBezTo>
                  <a:cubicBezTo>
                    <a:pt x="406" y="180"/>
                    <a:pt x="204" y="180"/>
                    <a:pt x="0" y="180"/>
                  </a:cubicBezTo>
                  <a:close/>
                </a:path>
              </a:pathLst>
            </a:custGeom>
            <a:solidFill>
              <a:srgbClr val="FE68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  <p:sp>
          <p:nvSpPr>
            <p:cNvPr id="138" name="Freeform 12">
              <a:extLst>
                <a:ext uri="{FF2B5EF4-FFF2-40B4-BE49-F238E27FC236}">
                  <a16:creationId xmlns:a16="http://schemas.microsoft.com/office/drawing/2014/main" id="{0364A92D-AF3A-4386-9BA8-037D9A66F74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1530" y="2939"/>
              <a:ext cx="1436" cy="426"/>
            </a:xfrm>
            <a:custGeom>
              <a:avLst/>
              <a:gdLst>
                <a:gd name="T0" fmla="*/ 608 w 608"/>
                <a:gd name="T1" fmla="*/ 180 h 180"/>
                <a:gd name="T2" fmla="*/ 0 w 608"/>
                <a:gd name="T3" fmla="*/ 180 h 180"/>
                <a:gd name="T4" fmla="*/ 0 w 608"/>
                <a:gd name="T5" fmla="*/ 0 h 180"/>
                <a:gd name="T6" fmla="*/ 567 w 608"/>
                <a:gd name="T7" fmla="*/ 0 h 180"/>
                <a:gd name="T8" fmla="*/ 608 w 608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180">
                  <a:moveTo>
                    <a:pt x="608" y="180"/>
                  </a:moveTo>
                  <a:cubicBezTo>
                    <a:pt x="404" y="180"/>
                    <a:pt x="203" y="180"/>
                    <a:pt x="0" y="180"/>
                  </a:cubicBezTo>
                  <a:cubicBezTo>
                    <a:pt x="0" y="121"/>
                    <a:pt x="0" y="61"/>
                    <a:pt x="0" y="0"/>
                  </a:cubicBezTo>
                  <a:cubicBezTo>
                    <a:pt x="188" y="0"/>
                    <a:pt x="377" y="0"/>
                    <a:pt x="567" y="0"/>
                  </a:cubicBezTo>
                  <a:cubicBezTo>
                    <a:pt x="581" y="59"/>
                    <a:pt x="594" y="119"/>
                    <a:pt x="608" y="180"/>
                  </a:cubicBezTo>
                  <a:close/>
                </a:path>
              </a:pathLst>
            </a:custGeom>
            <a:solidFill>
              <a:srgbClr val="FE68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1"/>
            </a:p>
          </p:txBody>
        </p:sp>
      </p:grpSp>
    </p:spTree>
    <p:extLst>
      <p:ext uri="{BB962C8B-B14F-4D97-AF65-F5344CB8AC3E}">
        <p14:creationId xmlns:p14="http://schemas.microsoft.com/office/powerpoint/2010/main" val="1559038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53" r:id="rId3"/>
    <p:sldLayoutId id="2147483666" r:id="rId4"/>
    <p:sldLayoutId id="2147483661" r:id="rId5"/>
    <p:sldLayoutId id="2147483664" r:id="rId6"/>
    <p:sldLayoutId id="2147483665" r:id="rId7"/>
    <p:sldLayoutId id="2147483674" r:id="rId8"/>
    <p:sldLayoutId id="2147483663" r:id="rId9"/>
    <p:sldLayoutId id="2147483654" r:id="rId10"/>
    <p:sldLayoutId id="2147483655" r:id="rId11"/>
    <p:sldLayoutId id="2147483667" r:id="rId12"/>
    <p:sldLayoutId id="2147483657" r:id="rId13"/>
    <p:sldLayoutId id="2147483668" r:id="rId14"/>
    <p:sldLayoutId id="2147483658" r:id="rId15"/>
    <p:sldLayoutId id="2147483669" r:id="rId16"/>
    <p:sldLayoutId id="2147483659" r:id="rId17"/>
    <p:sldLayoutId id="2147483673" r:id="rId18"/>
    <p:sldLayoutId id="2147483670" r:id="rId19"/>
    <p:sldLayoutId id="2147483671" r:id="rId20"/>
    <p:sldLayoutId id="2147483672" r:id="rId21"/>
    <p:sldLayoutId id="2147483660" r:id="rId22"/>
    <p:sldLayoutId id="2147483679" r:id="rId23"/>
    <p:sldLayoutId id="2147483678" r:id="rId24"/>
    <p:sldLayoutId id="2147483676" r:id="rId25"/>
    <p:sldLayoutId id="2147483677" r:id="rId26"/>
    <p:sldLayoutId id="2147483680" r:id="rId27"/>
    <p:sldLayoutId id="2147483681" r:id="rId28"/>
    <p:sldLayoutId id="2147483682" r:id="rId29"/>
    <p:sldLayoutId id="2147483684" r:id="rId30"/>
    <p:sldLayoutId id="2147483683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690" r:id="rId37"/>
    <p:sldLayoutId id="2147483675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4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 sz="1400" b="1" kern="1200" baseline="0">
          <a:latin typeface="+mj-lt"/>
        </a:defRPr>
      </a:lvl2pPr>
      <a:lvl3pPr eaLnBrk="1" hangingPunct="1">
        <a:defRPr sz="1400" b="1" kern="1200" baseline="0">
          <a:latin typeface="+mj-lt"/>
        </a:defRPr>
      </a:lvl3pPr>
      <a:lvl4pPr eaLnBrk="1" hangingPunct="1">
        <a:defRPr sz="1400" b="1" kern="1200" baseline="0">
          <a:latin typeface="+mn-lt"/>
        </a:defRPr>
      </a:lvl4pPr>
      <a:lvl5pPr eaLnBrk="1" hangingPunct="1">
        <a:defRPr sz="1400" b="1" kern="1200" baseline="0">
          <a:latin typeface="+mj-lt"/>
        </a:defRPr>
      </a:lvl5pPr>
      <a:lvl6pPr eaLnBrk="1" hangingPunct="1">
        <a:defRPr sz="1400" b="1" kern="1200" baseline="0">
          <a:latin typeface="+mj-lt"/>
        </a:defRPr>
      </a:lvl6pPr>
      <a:lvl7pPr eaLnBrk="1" hangingPunct="1">
        <a:defRPr sz="1400" b="1" kern="1200" baseline="0">
          <a:latin typeface="+mj-lt"/>
        </a:defRPr>
      </a:lvl7pPr>
      <a:lvl8pPr eaLnBrk="1" hangingPunct="1">
        <a:defRPr sz="1400" b="1" kern="1200" baseline="0">
          <a:latin typeface="+mj-lt"/>
        </a:defRPr>
      </a:lvl8pPr>
      <a:lvl9pPr eaLnBrk="1" hangingPunct="1">
        <a:defRPr sz="1400" b="1" kern="1200" baseline="0">
          <a:latin typeface="+mj-lt"/>
        </a:defRPr>
      </a:lvl9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000" kern="1200" cap="none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000" b="1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spcBef>
          <a:spcPts val="400"/>
        </a:spcBef>
        <a:spcAft>
          <a:spcPts val="300"/>
        </a:spcAft>
        <a:buClr>
          <a:schemeClr val="bg2"/>
        </a:buClr>
        <a:buSzPct val="85000"/>
        <a:buFont typeface="Wingdings 2" panose="05020102010507070707" pitchFamily="18" charset="2"/>
        <a:buChar char=""/>
        <a:defRPr sz="1000" kern="1200" cap="none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Font typeface="Symbol" panose="05050102010706020507" pitchFamily="18" charset="2"/>
        <a:buChar char="-"/>
        <a:defRPr sz="1000" kern="1200" cap="none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spcBef>
          <a:spcPts val="400"/>
        </a:spcBef>
        <a:spcAft>
          <a:spcPts val="300"/>
        </a:spcAft>
        <a:buClr>
          <a:schemeClr val="tx2"/>
        </a:buClr>
        <a:buFont typeface="+mj-lt"/>
        <a:buAutoNum type="arabicPeriod"/>
        <a:defRPr sz="10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+mj-lt"/>
        <a:buAutoNum type="alphaLcPeriod"/>
        <a:defRPr sz="1000" kern="1200" cap="none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400"/>
        </a:spcBef>
        <a:spcAft>
          <a:spcPts val="300"/>
        </a:spcAft>
        <a:buFont typeface="Arial" panose="020B0604020202020204" pitchFamily="34" charset="0"/>
        <a:buNone/>
        <a:defRPr sz="1100" b="1" kern="1200" cap="none" baseline="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400"/>
        </a:spcBef>
        <a:spcAft>
          <a:spcPts val="300"/>
        </a:spcAft>
        <a:buFont typeface="Arial" panose="020B0604020202020204" pitchFamily="34" charset="0"/>
        <a:buNone/>
        <a:defRPr sz="1100" b="1" kern="1200" cap="none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300"/>
        </a:spcBef>
        <a:buFont typeface="Arial" panose="020B0604020202020204" pitchFamily="34" charset="0"/>
        <a:buNone/>
        <a:defRPr sz="600" kern="1200" cap="none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4" userDrawn="1">
          <p15:clr>
            <a:srgbClr val="F26B43"/>
          </p15:clr>
        </p15:guide>
        <p15:guide id="2" pos="2812" userDrawn="1">
          <p15:clr>
            <a:srgbClr val="F26B43"/>
          </p15:clr>
        </p15:guide>
        <p15:guide id="3" pos="2948" userDrawn="1">
          <p15:clr>
            <a:srgbClr val="F26B43"/>
          </p15:clr>
        </p15:guide>
        <p15:guide id="4" pos="3696" userDrawn="1">
          <p15:clr>
            <a:srgbClr val="F26B43"/>
          </p15:clr>
        </p15:guide>
        <p15:guide id="5" pos="3833" userDrawn="1">
          <p15:clr>
            <a:srgbClr val="F26B43"/>
          </p15:clr>
        </p15:guide>
        <p15:guide id="6" pos="2064" userDrawn="1">
          <p15:clr>
            <a:srgbClr val="F26B43"/>
          </p15:clr>
        </p15:guide>
        <p15:guide id="7" pos="1927" userDrawn="1">
          <p15:clr>
            <a:srgbClr val="F26B43"/>
          </p15:clr>
        </p15:guide>
        <p15:guide id="8" pos="5465" userDrawn="1">
          <p15:clr>
            <a:srgbClr val="F26B43"/>
          </p15:clr>
        </p15:guide>
        <p15:guide id="9" pos="295" userDrawn="1">
          <p15:clr>
            <a:srgbClr val="F26B43"/>
          </p15:clr>
        </p15:guide>
        <p15:guide id="10" orient="horz" pos="1960" userDrawn="1">
          <p15:clr>
            <a:srgbClr val="F26B43"/>
          </p15:clr>
        </p15:guide>
        <p15:guide id="11" orient="horz" pos="3003" userDrawn="1">
          <p15:clr>
            <a:srgbClr val="F26B43"/>
          </p15:clr>
        </p15:guide>
        <p15:guide id="12" orient="horz" pos="645" userDrawn="1">
          <p15:clr>
            <a:srgbClr val="F26B43"/>
          </p15:clr>
        </p15:guide>
        <p15:guide id="13" orient="horz" pos="350" userDrawn="1">
          <p15:clr>
            <a:srgbClr val="F26B43"/>
          </p15:clr>
        </p15:guide>
        <p15:guide id="14" orient="horz" pos="169" userDrawn="1">
          <p15:clr>
            <a:srgbClr val="F26B43"/>
          </p15:clr>
        </p15:guide>
        <p15:guide id="15" orient="horz" pos="7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2108D2-7EB9-D0B4-8214-E6680FF4FF2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inweis: Diese Folie wurde mit generative KI erstell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64D343-5A08-15CC-35F3-1BE640AB45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3F93C5D-CE73-4065-84A3-369971D822B2}" type="datetime1">
              <a:rPr lang="de-DE" noProof="1" smtClean="0"/>
              <a:t>29.01.2026</a:t>
            </a:fld>
            <a:endParaRPr lang="de-DE" noProof="1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461EB0-67B5-5B89-D8F0-F9D392E91EB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37CB091-918D-45F7-A5C8-9E20A6ED19B7}" type="slidenum">
              <a:rPr lang="de-DE" noProof="1" smtClean="0"/>
              <a:pPr/>
              <a:t>1</a:t>
            </a:fld>
            <a:endParaRPr lang="de-DE" noProof="1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EF585F4-FC01-2EB0-6D18-AECEE213398C}"/>
              </a:ext>
            </a:extLst>
          </p:cNvPr>
          <p:cNvSpPr/>
          <p:nvPr/>
        </p:nvSpPr>
        <p:spPr bwMode="gray">
          <a:xfrm>
            <a:off x="470661" y="1240870"/>
            <a:ext cx="8205027" cy="796936"/>
          </a:xfrm>
          <a:prstGeom prst="roundRect">
            <a:avLst/>
          </a:prstGeom>
          <a:solidFill>
            <a:schemeClr val="bg2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288000" rIns="72000" bIns="72000" rtlCol="0" anchor="t"/>
          <a:lstStyle/>
          <a:p>
            <a:pPr algn="l"/>
            <a:r>
              <a:rPr lang="de-DE" sz="1000" dirty="0"/>
              <a:t>{</a:t>
            </a:r>
            <a:r>
              <a:rPr lang="de-DE" sz="1000" dirty="0" err="1"/>
              <a:t>ausgangssituation</a:t>
            </a:r>
            <a:r>
              <a:rPr lang="de-DE" sz="1000" dirty="0"/>
              <a:t>}</a:t>
            </a:r>
          </a:p>
        </p:txBody>
      </p:sp>
      <p:pic>
        <p:nvPicPr>
          <p:cNvPr id="10" name="Grafik 9" descr="Markierung Silhouette">
            <a:extLst>
              <a:ext uri="{FF2B5EF4-FFF2-40B4-BE49-F238E27FC236}">
                <a16:creationId xmlns:a16="http://schemas.microsoft.com/office/drawing/2014/main" id="{132B00A8-280F-FE2F-1445-BF2216D849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2991" y="1291320"/>
            <a:ext cx="696036" cy="696036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077EDC6-3CCE-5658-21B4-8772FFDA7799}"/>
              </a:ext>
            </a:extLst>
          </p:cNvPr>
          <p:cNvCxnSpPr/>
          <p:nvPr/>
        </p:nvCxnSpPr>
        <p:spPr bwMode="gray">
          <a:xfrm>
            <a:off x="1357952" y="1282351"/>
            <a:ext cx="0" cy="713973"/>
          </a:xfrm>
          <a:prstGeom prst="line">
            <a:avLst/>
          </a:prstGeom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AAD3D9A4-00D9-09E1-1770-425A8CA921AD}"/>
              </a:ext>
            </a:extLst>
          </p:cNvPr>
          <p:cNvSpPr/>
          <p:nvPr/>
        </p:nvSpPr>
        <p:spPr bwMode="gray">
          <a:xfrm>
            <a:off x="468312" y="2238378"/>
            <a:ext cx="2579614" cy="1655377"/>
          </a:xfrm>
          <a:prstGeom prst="roundRect">
            <a:avLst>
              <a:gd name="adj" fmla="val 9892"/>
            </a:avLst>
          </a:prstGeom>
          <a:solidFill>
            <a:schemeClr val="accent2">
              <a:lumMod val="20000"/>
              <a:lumOff val="80000"/>
            </a:schemeClr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0" rIns="72000" bIns="72000" rtlCol="0" anchor="t"/>
          <a:lstStyle/>
          <a:p>
            <a:pPr algn="l"/>
            <a:r>
              <a:rPr lang="de-DE" sz="1000" dirty="0">
                <a:solidFill>
                  <a:schemeClr val="tx1"/>
                </a:solidFill>
              </a:rPr>
              <a:t>{</a:t>
            </a:r>
            <a:r>
              <a:rPr lang="de-DE" sz="1000" dirty="0" err="1">
                <a:solidFill>
                  <a:schemeClr val="tx1"/>
                </a:solidFill>
              </a:rPr>
              <a:t>loesung</a:t>
            </a:r>
            <a:r>
              <a:rPr lang="de-DE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3C57CF45-507C-C6DF-C9C8-0BD02F0023CA}"/>
              </a:ext>
            </a:extLst>
          </p:cNvPr>
          <p:cNvSpPr/>
          <p:nvPr/>
        </p:nvSpPr>
        <p:spPr bwMode="gray">
          <a:xfrm>
            <a:off x="468312" y="2238378"/>
            <a:ext cx="2579614" cy="322255"/>
          </a:xfrm>
          <a:custGeom>
            <a:avLst/>
            <a:gdLst>
              <a:gd name="csX0" fmla="*/ 163750 w 2579614"/>
              <a:gd name="csY0" fmla="*/ 0 h 322255"/>
              <a:gd name="csX1" fmla="*/ 2415864 w 2579614"/>
              <a:gd name="csY1" fmla="*/ 0 h 322255"/>
              <a:gd name="csX2" fmla="*/ 2579614 w 2579614"/>
              <a:gd name="csY2" fmla="*/ 163750 h 322255"/>
              <a:gd name="csX3" fmla="*/ 2579614 w 2579614"/>
              <a:gd name="csY3" fmla="*/ 322255 h 322255"/>
              <a:gd name="csX4" fmla="*/ 0 w 2579614"/>
              <a:gd name="csY4" fmla="*/ 322255 h 322255"/>
              <a:gd name="csX5" fmla="*/ 0 w 2579614"/>
              <a:gd name="csY5" fmla="*/ 163750 h 322255"/>
              <a:gd name="csX6" fmla="*/ 163750 w 2579614"/>
              <a:gd name="csY6" fmla="*/ 0 h 3222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579614" h="322255">
                <a:moveTo>
                  <a:pt x="163750" y="0"/>
                </a:moveTo>
                <a:lnTo>
                  <a:pt x="2415864" y="0"/>
                </a:lnTo>
                <a:cubicBezTo>
                  <a:pt x="2506301" y="0"/>
                  <a:pt x="2579614" y="73313"/>
                  <a:pt x="2579614" y="163750"/>
                </a:cubicBezTo>
                <a:lnTo>
                  <a:pt x="2579614" y="322255"/>
                </a:lnTo>
                <a:lnTo>
                  <a:pt x="0" y="322255"/>
                </a:lnTo>
                <a:lnTo>
                  <a:pt x="0" y="163750"/>
                </a:lnTo>
                <a:cubicBezTo>
                  <a:pt x="0" y="73313"/>
                  <a:pt x="73313" y="0"/>
                  <a:pt x="163750" y="0"/>
                </a:cubicBezTo>
                <a:close/>
              </a:path>
            </a:pathLst>
          </a:custGeom>
          <a:solidFill>
            <a:schemeClr val="tx2"/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>
              <a:spcBef>
                <a:spcPts val="400"/>
              </a:spcBef>
              <a:spcAft>
                <a:spcPts val="300"/>
              </a:spcAft>
            </a:pPr>
            <a:r>
              <a:rPr lang="de-DE" sz="1000" b="1" dirty="0"/>
              <a:t>Lösung und Funktionsweise</a:t>
            </a:r>
            <a:endParaRPr lang="de-DE" sz="1000" dirty="0"/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142F832-7FBC-3216-730F-9CD5C23914E2}"/>
              </a:ext>
            </a:extLst>
          </p:cNvPr>
          <p:cNvSpPr/>
          <p:nvPr/>
        </p:nvSpPr>
        <p:spPr bwMode="gray">
          <a:xfrm>
            <a:off x="3283367" y="2238378"/>
            <a:ext cx="2579614" cy="1655377"/>
          </a:xfrm>
          <a:prstGeom prst="roundRect">
            <a:avLst>
              <a:gd name="adj" fmla="val 9892"/>
            </a:avLst>
          </a:prstGeom>
          <a:solidFill>
            <a:schemeClr val="accent2">
              <a:lumMod val="20000"/>
              <a:lumOff val="80000"/>
            </a:schemeClr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0" rIns="72000" bIns="72000" rtlCol="0" anchor="t"/>
          <a:lstStyle/>
          <a:p>
            <a:pPr algn="l"/>
            <a:r>
              <a:rPr lang="de-DE" sz="1000" dirty="0">
                <a:solidFill>
                  <a:schemeClr val="tx1"/>
                </a:solidFill>
              </a:rPr>
              <a:t>{</a:t>
            </a:r>
            <a:r>
              <a:rPr lang="de-DE" sz="1000" dirty="0" err="1">
                <a:solidFill>
                  <a:schemeClr val="tx1"/>
                </a:solidFill>
              </a:rPr>
              <a:t>vorteile</a:t>
            </a:r>
            <a:r>
              <a:rPr lang="de-DE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0A8E5FD3-380D-AE8C-9571-A15D3A68B310}"/>
              </a:ext>
            </a:extLst>
          </p:cNvPr>
          <p:cNvSpPr/>
          <p:nvPr/>
        </p:nvSpPr>
        <p:spPr bwMode="gray">
          <a:xfrm>
            <a:off x="3283367" y="2238378"/>
            <a:ext cx="2579614" cy="322255"/>
          </a:xfrm>
          <a:custGeom>
            <a:avLst/>
            <a:gdLst>
              <a:gd name="csX0" fmla="*/ 163750 w 2579614"/>
              <a:gd name="csY0" fmla="*/ 0 h 322255"/>
              <a:gd name="csX1" fmla="*/ 2415864 w 2579614"/>
              <a:gd name="csY1" fmla="*/ 0 h 322255"/>
              <a:gd name="csX2" fmla="*/ 2579614 w 2579614"/>
              <a:gd name="csY2" fmla="*/ 163750 h 322255"/>
              <a:gd name="csX3" fmla="*/ 2579614 w 2579614"/>
              <a:gd name="csY3" fmla="*/ 322255 h 322255"/>
              <a:gd name="csX4" fmla="*/ 0 w 2579614"/>
              <a:gd name="csY4" fmla="*/ 322255 h 322255"/>
              <a:gd name="csX5" fmla="*/ 0 w 2579614"/>
              <a:gd name="csY5" fmla="*/ 163750 h 322255"/>
              <a:gd name="csX6" fmla="*/ 163750 w 2579614"/>
              <a:gd name="csY6" fmla="*/ 0 h 3222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579614" h="322255">
                <a:moveTo>
                  <a:pt x="163750" y="0"/>
                </a:moveTo>
                <a:lnTo>
                  <a:pt x="2415864" y="0"/>
                </a:lnTo>
                <a:cubicBezTo>
                  <a:pt x="2506301" y="0"/>
                  <a:pt x="2579614" y="73313"/>
                  <a:pt x="2579614" y="163750"/>
                </a:cubicBezTo>
                <a:lnTo>
                  <a:pt x="2579614" y="322255"/>
                </a:lnTo>
                <a:lnTo>
                  <a:pt x="0" y="322255"/>
                </a:lnTo>
                <a:lnTo>
                  <a:pt x="0" y="163750"/>
                </a:lnTo>
                <a:cubicBezTo>
                  <a:pt x="0" y="73313"/>
                  <a:pt x="73313" y="0"/>
                  <a:pt x="163750" y="0"/>
                </a:cubicBezTo>
                <a:close/>
              </a:path>
            </a:pathLst>
          </a:custGeom>
          <a:solidFill>
            <a:schemeClr val="tx2"/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>
              <a:spcBef>
                <a:spcPts val="400"/>
              </a:spcBef>
              <a:spcAft>
                <a:spcPts val="300"/>
              </a:spcAft>
            </a:pPr>
            <a:r>
              <a:rPr lang="de-DE" sz="1000" b="1" dirty="0"/>
              <a:t>Vorteile</a:t>
            </a:r>
            <a:endParaRPr lang="de-DE" sz="1000" dirty="0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A36C7CC8-E8E5-2DFE-11B1-F08AB1763200}"/>
              </a:ext>
            </a:extLst>
          </p:cNvPr>
          <p:cNvSpPr/>
          <p:nvPr/>
        </p:nvSpPr>
        <p:spPr bwMode="gray">
          <a:xfrm>
            <a:off x="6096074" y="2238378"/>
            <a:ext cx="2579614" cy="1655377"/>
          </a:xfrm>
          <a:prstGeom prst="roundRect">
            <a:avLst>
              <a:gd name="adj" fmla="val 9892"/>
            </a:avLst>
          </a:prstGeom>
          <a:solidFill>
            <a:schemeClr val="accent2">
              <a:lumMod val="20000"/>
              <a:lumOff val="80000"/>
            </a:schemeClr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0" rIns="72000" bIns="72000" rtlCol="0" anchor="t"/>
          <a:lstStyle/>
          <a:p>
            <a:pPr algn="l"/>
            <a:r>
              <a:rPr lang="de-DE" sz="1000" dirty="0">
                <a:solidFill>
                  <a:schemeClr val="tx1"/>
                </a:solidFill>
              </a:rPr>
              <a:t>{</a:t>
            </a:r>
            <a:r>
              <a:rPr lang="de-DE" sz="1000" dirty="0" err="1">
                <a:solidFill>
                  <a:schemeClr val="tx1"/>
                </a:solidFill>
              </a:rPr>
              <a:t>gespraechseinstieg</a:t>
            </a:r>
            <a:r>
              <a:rPr lang="de-DE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85D32379-0B80-7F4B-6451-D2FE89217D5C}"/>
              </a:ext>
            </a:extLst>
          </p:cNvPr>
          <p:cNvSpPr/>
          <p:nvPr/>
        </p:nvSpPr>
        <p:spPr bwMode="gray">
          <a:xfrm>
            <a:off x="6096074" y="2238378"/>
            <a:ext cx="2579614" cy="322255"/>
          </a:xfrm>
          <a:custGeom>
            <a:avLst/>
            <a:gdLst>
              <a:gd name="csX0" fmla="*/ 163750 w 2579614"/>
              <a:gd name="csY0" fmla="*/ 0 h 322255"/>
              <a:gd name="csX1" fmla="*/ 2415864 w 2579614"/>
              <a:gd name="csY1" fmla="*/ 0 h 322255"/>
              <a:gd name="csX2" fmla="*/ 2579614 w 2579614"/>
              <a:gd name="csY2" fmla="*/ 163750 h 322255"/>
              <a:gd name="csX3" fmla="*/ 2579614 w 2579614"/>
              <a:gd name="csY3" fmla="*/ 322255 h 322255"/>
              <a:gd name="csX4" fmla="*/ 0 w 2579614"/>
              <a:gd name="csY4" fmla="*/ 322255 h 322255"/>
              <a:gd name="csX5" fmla="*/ 0 w 2579614"/>
              <a:gd name="csY5" fmla="*/ 163750 h 322255"/>
              <a:gd name="csX6" fmla="*/ 163750 w 2579614"/>
              <a:gd name="csY6" fmla="*/ 0 h 3222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579614" h="322255">
                <a:moveTo>
                  <a:pt x="163750" y="0"/>
                </a:moveTo>
                <a:lnTo>
                  <a:pt x="2415864" y="0"/>
                </a:lnTo>
                <a:cubicBezTo>
                  <a:pt x="2506301" y="0"/>
                  <a:pt x="2579614" y="73313"/>
                  <a:pt x="2579614" y="163750"/>
                </a:cubicBezTo>
                <a:lnTo>
                  <a:pt x="2579614" y="322255"/>
                </a:lnTo>
                <a:lnTo>
                  <a:pt x="0" y="322255"/>
                </a:lnTo>
                <a:lnTo>
                  <a:pt x="0" y="163750"/>
                </a:lnTo>
                <a:cubicBezTo>
                  <a:pt x="0" y="73313"/>
                  <a:pt x="73313" y="0"/>
                  <a:pt x="163750" y="0"/>
                </a:cubicBezTo>
                <a:close/>
              </a:path>
            </a:pathLst>
          </a:custGeom>
          <a:solidFill>
            <a:schemeClr val="tx2"/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>
              <a:spcBef>
                <a:spcPts val="400"/>
              </a:spcBef>
              <a:spcAft>
                <a:spcPts val="300"/>
              </a:spcAft>
            </a:pPr>
            <a:r>
              <a:rPr lang="de-DE" sz="1000" b="1"/>
              <a:t>Gesprächseinstieg</a:t>
            </a:r>
            <a:endParaRPr lang="de-DE" sz="1000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275A12F5-4357-214E-F962-663D963BC9F4}"/>
              </a:ext>
            </a:extLst>
          </p:cNvPr>
          <p:cNvSpPr txBox="1">
            <a:spLocks/>
          </p:cNvSpPr>
          <p:nvPr/>
        </p:nvSpPr>
        <p:spPr bwMode="gray">
          <a:xfrm>
            <a:off x="470661" y="553574"/>
            <a:ext cx="8205027" cy="209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4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 sz="1400" b="1" kern="1200" baseline="0">
                <a:latin typeface="+mj-lt"/>
              </a:defRPr>
            </a:lvl2pPr>
            <a:lvl3pPr eaLnBrk="1" hangingPunct="1">
              <a:defRPr sz="1400" b="1" kern="1200" baseline="0">
                <a:latin typeface="+mj-lt"/>
              </a:defRPr>
            </a:lvl3pPr>
            <a:lvl4pPr eaLnBrk="1" hangingPunct="1">
              <a:defRPr sz="1400" b="1" kern="1200" baseline="0">
                <a:latin typeface="+mn-lt"/>
              </a:defRPr>
            </a:lvl4pPr>
            <a:lvl5pPr eaLnBrk="1" hangingPunct="1">
              <a:defRPr sz="1400" b="1" kern="1200" baseline="0">
                <a:latin typeface="+mj-lt"/>
              </a:defRPr>
            </a:lvl5pPr>
            <a:lvl6pPr eaLnBrk="1" hangingPunct="1">
              <a:defRPr sz="1400" b="1" kern="1200" baseline="0">
                <a:latin typeface="+mj-lt"/>
              </a:defRPr>
            </a:lvl6pPr>
            <a:lvl7pPr eaLnBrk="1" hangingPunct="1">
              <a:defRPr sz="1400" b="1" kern="1200" baseline="0">
                <a:latin typeface="+mj-lt"/>
              </a:defRPr>
            </a:lvl7pPr>
            <a:lvl8pPr eaLnBrk="1" hangingPunct="1">
              <a:defRPr sz="1400" b="1" kern="1200" baseline="0">
                <a:latin typeface="+mj-lt"/>
              </a:defRPr>
            </a:lvl8pPr>
            <a:lvl9pPr eaLnBrk="1" hangingPunct="1">
              <a:defRPr sz="1400" b="1" kern="1200" baseline="0">
                <a:latin typeface="+mj-lt"/>
              </a:defRPr>
            </a:lvl9pPr>
          </a:lstStyle>
          <a:p>
            <a:r>
              <a:rPr lang="de-DE" dirty="0"/>
              <a:t>{</a:t>
            </a:r>
            <a:r>
              <a:rPr lang="de-DE" dirty="0" err="1"/>
              <a:t>titel</a:t>
            </a:r>
            <a:r>
              <a:rPr lang="de-DE" dirty="0"/>
              <a:t>}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1702E04-6014-8316-3C75-0302BD9DBEA9}"/>
              </a:ext>
            </a:extLst>
          </p:cNvPr>
          <p:cNvSpPr txBox="1">
            <a:spLocks/>
          </p:cNvSpPr>
          <p:nvPr/>
        </p:nvSpPr>
        <p:spPr bwMode="gray">
          <a:xfrm>
            <a:off x="470661" y="762580"/>
            <a:ext cx="8205027" cy="209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4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 sz="1400" b="1" kern="1200" baseline="0">
                <a:latin typeface="+mj-lt"/>
              </a:defRPr>
            </a:lvl2pPr>
            <a:lvl3pPr eaLnBrk="1" hangingPunct="1">
              <a:defRPr sz="1400" b="1" kern="1200" baseline="0">
                <a:latin typeface="+mj-lt"/>
              </a:defRPr>
            </a:lvl3pPr>
            <a:lvl4pPr eaLnBrk="1" hangingPunct="1">
              <a:defRPr sz="1400" b="1" kern="1200" baseline="0">
                <a:latin typeface="+mn-lt"/>
              </a:defRPr>
            </a:lvl4pPr>
            <a:lvl5pPr eaLnBrk="1" hangingPunct="1">
              <a:defRPr sz="1400" b="1" kern="1200" baseline="0">
                <a:latin typeface="+mj-lt"/>
              </a:defRPr>
            </a:lvl5pPr>
            <a:lvl6pPr eaLnBrk="1" hangingPunct="1">
              <a:defRPr sz="1400" b="1" kern="1200" baseline="0">
                <a:latin typeface="+mj-lt"/>
              </a:defRPr>
            </a:lvl6pPr>
            <a:lvl7pPr eaLnBrk="1" hangingPunct="1">
              <a:defRPr sz="1400" b="1" kern="1200" baseline="0">
                <a:latin typeface="+mj-lt"/>
              </a:defRPr>
            </a:lvl7pPr>
            <a:lvl8pPr eaLnBrk="1" hangingPunct="1">
              <a:defRPr sz="1400" b="1" kern="1200" baseline="0">
                <a:latin typeface="+mj-lt"/>
              </a:defRPr>
            </a:lvl8pPr>
            <a:lvl9pPr eaLnBrk="1" hangingPunct="1">
              <a:defRPr sz="1400" b="1" kern="1200" baseline="0">
                <a:latin typeface="+mj-lt"/>
              </a:defRPr>
            </a:lvl9pPr>
          </a:lstStyle>
          <a:p>
            <a:r>
              <a:rPr lang="de-DE" dirty="0"/>
              <a:t>{</a:t>
            </a:r>
            <a:r>
              <a:rPr lang="de-DE" dirty="0" err="1"/>
              <a:t>unterzeile</a:t>
            </a:r>
            <a:r>
              <a:rPr lang="de-DE" dirty="0"/>
              <a:t>}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B34369F8-583E-5C03-40B4-D6F8AE1C5FEC}"/>
              </a:ext>
            </a:extLst>
          </p:cNvPr>
          <p:cNvSpPr/>
          <p:nvPr/>
        </p:nvSpPr>
        <p:spPr bwMode="gray">
          <a:xfrm>
            <a:off x="1554479" y="1317960"/>
            <a:ext cx="1881051" cy="223971"/>
          </a:xfrm>
          <a:prstGeom prst="roundRect">
            <a:avLst/>
          </a:prstGeom>
          <a:solidFill>
            <a:schemeClr val="bg2"/>
          </a:solidFill>
          <a:ln w="6350" cap="sq">
            <a:solidFill>
              <a:schemeClr val="bg2"/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400"/>
              </a:spcBef>
              <a:spcAft>
                <a:spcPts val="300"/>
              </a:spcAft>
            </a:pPr>
            <a:r>
              <a:rPr lang="de-DE" sz="1000" b="1" dirty="0"/>
              <a:t>Ausgangssituation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9D51A058-A2BE-8417-C194-C21A76EB6600}"/>
              </a:ext>
            </a:extLst>
          </p:cNvPr>
          <p:cNvSpPr/>
          <p:nvPr/>
        </p:nvSpPr>
        <p:spPr bwMode="gray">
          <a:xfrm>
            <a:off x="468312" y="4094327"/>
            <a:ext cx="5392320" cy="672935"/>
          </a:xfrm>
          <a:prstGeom prst="roundRect">
            <a:avLst>
              <a:gd name="adj" fmla="val 24074"/>
            </a:avLst>
          </a:prstGeom>
          <a:solidFill>
            <a:schemeClr val="accent2">
              <a:lumMod val="20000"/>
              <a:lumOff val="80000"/>
            </a:schemeClr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0" rIns="72000" bIns="72000" rtlCol="0" anchor="t"/>
          <a:lstStyle/>
          <a:p>
            <a:pPr algn="l"/>
            <a:r>
              <a:rPr lang="de-DE" sz="1000" dirty="0">
                <a:solidFill>
                  <a:schemeClr val="tx1"/>
                </a:solidFill>
              </a:rPr>
              <a:t>{</a:t>
            </a:r>
            <a:r>
              <a:rPr lang="de-DE" sz="1000" dirty="0" err="1">
                <a:solidFill>
                  <a:schemeClr val="tx1"/>
                </a:solidFill>
              </a:rPr>
              <a:t>praxisbeispiel</a:t>
            </a:r>
            <a:r>
              <a:rPr lang="de-DE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23A38767-088F-AB21-74A9-AD2508BB97B6}"/>
              </a:ext>
            </a:extLst>
          </p:cNvPr>
          <p:cNvSpPr/>
          <p:nvPr/>
        </p:nvSpPr>
        <p:spPr bwMode="gray">
          <a:xfrm>
            <a:off x="468312" y="4094327"/>
            <a:ext cx="5392320" cy="322255"/>
          </a:xfrm>
          <a:custGeom>
            <a:avLst/>
            <a:gdLst>
              <a:gd name="csX0" fmla="*/ 162002 w 5392320"/>
              <a:gd name="csY0" fmla="*/ 0 h 322255"/>
              <a:gd name="csX1" fmla="*/ 5230318 w 5392320"/>
              <a:gd name="csY1" fmla="*/ 0 h 322255"/>
              <a:gd name="csX2" fmla="*/ 5392320 w 5392320"/>
              <a:gd name="csY2" fmla="*/ 162002 h 322255"/>
              <a:gd name="csX3" fmla="*/ 5392320 w 5392320"/>
              <a:gd name="csY3" fmla="*/ 322255 h 322255"/>
              <a:gd name="csX4" fmla="*/ 0 w 5392320"/>
              <a:gd name="csY4" fmla="*/ 322255 h 322255"/>
              <a:gd name="csX5" fmla="*/ 0 w 5392320"/>
              <a:gd name="csY5" fmla="*/ 162002 h 322255"/>
              <a:gd name="csX6" fmla="*/ 162002 w 5392320"/>
              <a:gd name="csY6" fmla="*/ 0 h 3222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5392320" h="322255">
                <a:moveTo>
                  <a:pt x="162002" y="0"/>
                </a:moveTo>
                <a:lnTo>
                  <a:pt x="5230318" y="0"/>
                </a:lnTo>
                <a:cubicBezTo>
                  <a:pt x="5319789" y="0"/>
                  <a:pt x="5392320" y="72531"/>
                  <a:pt x="5392320" y="162002"/>
                </a:cubicBezTo>
                <a:lnTo>
                  <a:pt x="5392320" y="322255"/>
                </a:lnTo>
                <a:lnTo>
                  <a:pt x="0" y="322255"/>
                </a:lnTo>
                <a:lnTo>
                  <a:pt x="0" y="162002"/>
                </a:lnTo>
                <a:cubicBezTo>
                  <a:pt x="0" y="72531"/>
                  <a:pt x="72531" y="0"/>
                  <a:pt x="162002" y="0"/>
                </a:cubicBezTo>
                <a:close/>
              </a:path>
            </a:pathLst>
          </a:custGeom>
          <a:solidFill>
            <a:schemeClr val="tx2"/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300"/>
              </a:spcAft>
            </a:pPr>
            <a:r>
              <a:rPr lang="de-DE" sz="1000" b="1" dirty="0"/>
              <a:t>Praxisbeispiel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620B6D78-644D-5769-85EC-27998DF7E9D3}"/>
              </a:ext>
            </a:extLst>
          </p:cNvPr>
          <p:cNvSpPr/>
          <p:nvPr/>
        </p:nvSpPr>
        <p:spPr bwMode="gray">
          <a:xfrm>
            <a:off x="6096074" y="4094327"/>
            <a:ext cx="2579614" cy="672935"/>
          </a:xfrm>
          <a:prstGeom prst="roundRect">
            <a:avLst>
              <a:gd name="adj" fmla="val 24074"/>
            </a:avLst>
          </a:prstGeom>
          <a:solidFill>
            <a:schemeClr val="accent2">
              <a:lumMod val="20000"/>
              <a:lumOff val="80000"/>
            </a:schemeClr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0" rIns="72000" bIns="72000" rtlCol="0" anchor="t"/>
          <a:lstStyle/>
          <a:p>
            <a:pPr algn="l"/>
            <a:r>
              <a:rPr lang="de-DE" sz="1000">
                <a:solidFill>
                  <a:schemeClr val="tx1"/>
                </a:solidFill>
              </a:rPr>
              <a:t>{ansprechpartner}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3C45BCBC-22AE-F0D2-588E-D9CCC27B60AF}"/>
              </a:ext>
            </a:extLst>
          </p:cNvPr>
          <p:cNvSpPr/>
          <p:nvPr/>
        </p:nvSpPr>
        <p:spPr bwMode="gray">
          <a:xfrm>
            <a:off x="6096074" y="4094326"/>
            <a:ext cx="2579614" cy="322255"/>
          </a:xfrm>
          <a:custGeom>
            <a:avLst/>
            <a:gdLst>
              <a:gd name="csX0" fmla="*/ 163750 w 2579614"/>
              <a:gd name="csY0" fmla="*/ 0 h 322255"/>
              <a:gd name="csX1" fmla="*/ 2415864 w 2579614"/>
              <a:gd name="csY1" fmla="*/ 0 h 322255"/>
              <a:gd name="csX2" fmla="*/ 2579614 w 2579614"/>
              <a:gd name="csY2" fmla="*/ 163750 h 322255"/>
              <a:gd name="csX3" fmla="*/ 2579614 w 2579614"/>
              <a:gd name="csY3" fmla="*/ 322255 h 322255"/>
              <a:gd name="csX4" fmla="*/ 0 w 2579614"/>
              <a:gd name="csY4" fmla="*/ 322255 h 322255"/>
              <a:gd name="csX5" fmla="*/ 0 w 2579614"/>
              <a:gd name="csY5" fmla="*/ 163750 h 322255"/>
              <a:gd name="csX6" fmla="*/ 163750 w 2579614"/>
              <a:gd name="csY6" fmla="*/ 0 h 3222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579614" h="322255">
                <a:moveTo>
                  <a:pt x="163750" y="0"/>
                </a:moveTo>
                <a:lnTo>
                  <a:pt x="2415864" y="0"/>
                </a:lnTo>
                <a:cubicBezTo>
                  <a:pt x="2506301" y="0"/>
                  <a:pt x="2579614" y="73313"/>
                  <a:pt x="2579614" y="163750"/>
                </a:cubicBezTo>
                <a:lnTo>
                  <a:pt x="2579614" y="322255"/>
                </a:lnTo>
                <a:lnTo>
                  <a:pt x="0" y="322255"/>
                </a:lnTo>
                <a:lnTo>
                  <a:pt x="0" y="163750"/>
                </a:lnTo>
                <a:cubicBezTo>
                  <a:pt x="0" y="73313"/>
                  <a:pt x="73313" y="0"/>
                  <a:pt x="163750" y="0"/>
                </a:cubicBezTo>
                <a:close/>
              </a:path>
            </a:pathLst>
          </a:custGeom>
          <a:solidFill>
            <a:schemeClr val="tx2"/>
          </a:solidFill>
          <a:ln w="6350" cap="sq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>
              <a:spcBef>
                <a:spcPts val="400"/>
              </a:spcBef>
              <a:spcAft>
                <a:spcPts val="300"/>
              </a:spcAft>
            </a:pPr>
            <a:r>
              <a:rPr lang="de-DE" sz="1000" b="1" dirty="0"/>
              <a:t>Ansprechpartner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3928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affc20b92f7cd92c5027fc7d717276564b9133e6"/>
  <p:tag name="EE4P_STYLE_ID" val="ea4236f1-7e39-4bab-846c-8010a7d53fd6"/>
  <p:tag name="EE4P_LANGUAGE_ID" val="1031"/>
</p:tagLst>
</file>

<file path=ppt/theme/theme1.xml><?xml version="1.0" encoding="utf-8"?>
<a:theme xmlns:a="http://schemas.openxmlformats.org/drawingml/2006/main" name="BVR">
  <a:themeElements>
    <a:clrScheme name="BVR - Template">
      <a:dk1>
        <a:srgbClr val="000000"/>
      </a:dk1>
      <a:lt1>
        <a:srgbClr val="FFFFFF"/>
      </a:lt1>
      <a:dk2>
        <a:srgbClr val="0066B3"/>
      </a:dk2>
      <a:lt2>
        <a:srgbClr val="FF6600"/>
      </a:lt2>
      <a:accent1>
        <a:srgbClr val="002D67"/>
      </a:accent1>
      <a:accent2>
        <a:srgbClr val="327DC8"/>
      </a:accent2>
      <a:accent3>
        <a:srgbClr val="A0008C"/>
      </a:accent3>
      <a:accent4>
        <a:srgbClr val="A20032"/>
      </a:accent4>
      <a:accent5>
        <a:srgbClr val="787800"/>
      </a:accent5>
      <a:accent6>
        <a:srgbClr val="006E73"/>
      </a:accent6>
      <a:hlink>
        <a:srgbClr val="0000FF"/>
      </a:hlink>
      <a:folHlink>
        <a:srgbClr val="800080"/>
      </a:folHlink>
    </a:clrScheme>
    <a:fontScheme name="BVR Schriften - GenosGFG">
      <a:majorFont>
        <a:latin typeface="GenosGFG"/>
        <a:ea typeface=""/>
        <a:cs typeface=""/>
      </a:majorFont>
      <a:minorFont>
        <a:latin typeface="GenosGF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6350" cap="sq">
          <a:solidFill>
            <a:schemeClr val="bg2"/>
          </a:solidFill>
          <a:miter lim="800000"/>
        </a:ln>
      </a:spPr>
      <a:bodyPr lIns="72000" tIns="72000" rIns="72000" bIns="72000" rtlCol="0" anchor="t"/>
      <a:lstStyle>
        <a:defPPr marL="216000" indent="-216000" algn="l">
          <a:spcBef>
            <a:spcPts val="400"/>
          </a:spcBef>
          <a:spcAft>
            <a:spcPts val="300"/>
          </a:spcAft>
          <a:buFont typeface="Wingdings" panose="05000000000000000000" pitchFamily="2" charset="2"/>
          <a:buChar char="§"/>
          <a:defRPr sz="10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 cap="rnd">
          <a:solidFill>
            <a:schemeClr val="bg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16000" indent="-216000" algn="l">
          <a:spcBef>
            <a:spcPts val="400"/>
          </a:spcBef>
          <a:spcAft>
            <a:spcPts val="300"/>
          </a:spcAft>
          <a:buClr>
            <a:schemeClr val="bg2"/>
          </a:buClr>
          <a:buFont typeface="Wingdings" pitchFamily="2" charset="2"/>
          <a:buChar char="§"/>
          <a:defRPr sz="1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VR_Template_2020_01a_EXP" id="{9B411FD7-F87C-4335-94A6-2FAAF098DAFD}" vid="{F513B07B-A1F8-40F8-8B1B-650B29175DF9}"/>
    </a:ext>
  </a:extLst>
</a:theme>
</file>

<file path=ppt/theme/theme2.xml><?xml version="1.0" encoding="utf-8"?>
<a:theme xmlns:a="http://schemas.openxmlformats.org/drawingml/2006/main" name="Larissa">
  <a:themeElements>
    <a:clrScheme name="BVR">
      <a:dk1>
        <a:srgbClr val="000000"/>
      </a:dk1>
      <a:lt1>
        <a:srgbClr val="FFFFFF"/>
      </a:lt1>
      <a:dk2>
        <a:srgbClr val="0066B3"/>
      </a:dk2>
      <a:lt2>
        <a:srgbClr val="FF6600"/>
      </a:lt2>
      <a:accent1>
        <a:srgbClr val="002D67"/>
      </a:accent1>
      <a:accent2>
        <a:srgbClr val="649BD7"/>
      </a:accent2>
      <a:accent3>
        <a:srgbClr val="5F0F46"/>
      </a:accent3>
      <a:accent4>
        <a:srgbClr val="9B1937"/>
      </a:accent4>
      <a:accent5>
        <a:srgbClr val="78781E"/>
      </a:accent5>
      <a:accent6>
        <a:srgbClr val="006E73"/>
      </a:accent6>
      <a:hlink>
        <a:srgbClr val="0000FF"/>
      </a:hlink>
      <a:folHlink>
        <a:srgbClr val="800080"/>
      </a:folHlink>
    </a:clrScheme>
    <a:fontScheme name="BVR">
      <a:majorFont>
        <a:latin typeface="Frutiger VR"/>
        <a:ea typeface=""/>
        <a:cs typeface=""/>
      </a:majorFont>
      <a:minorFont>
        <a:latin typeface="Frutiger V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 cap="sq">
          <a:solidFill>
            <a:schemeClr val="bg2"/>
          </a:solidFill>
          <a:miter lim="800000"/>
        </a:ln>
      </a:spPr>
      <a:bodyPr lIns="72000" tIns="72000" rIns="72000" bIns="72000" rtlCol="0" anchor="t"/>
      <a:lstStyle>
        <a:defPPr marL="216000" indent="-216000" algn="l">
          <a:spcBef>
            <a:spcPts val="400"/>
          </a:spcBef>
          <a:spcAft>
            <a:spcPts val="300"/>
          </a:spcAft>
          <a:buFont typeface="Wingdings" panose="05000000000000000000" pitchFamily="2" charset="2"/>
          <a:buChar char="§"/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16000" indent="-216000" algn="l">
          <a:spcBef>
            <a:spcPts val="400"/>
          </a:spcBef>
          <a:spcAft>
            <a:spcPts val="300"/>
          </a:spcAft>
          <a:buClr>
            <a:schemeClr val="bg2"/>
          </a:buClr>
          <a:buFont typeface="Wingdings" pitchFamily="2" charset="2"/>
          <a:buChar char="§"/>
          <a:defRPr sz="10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BVR">
      <a:dk1>
        <a:srgbClr val="000000"/>
      </a:dk1>
      <a:lt1>
        <a:srgbClr val="FFFFFF"/>
      </a:lt1>
      <a:dk2>
        <a:srgbClr val="0066B3"/>
      </a:dk2>
      <a:lt2>
        <a:srgbClr val="FF6600"/>
      </a:lt2>
      <a:accent1>
        <a:srgbClr val="002D67"/>
      </a:accent1>
      <a:accent2>
        <a:srgbClr val="649BD7"/>
      </a:accent2>
      <a:accent3>
        <a:srgbClr val="5F0F46"/>
      </a:accent3>
      <a:accent4>
        <a:srgbClr val="9B1937"/>
      </a:accent4>
      <a:accent5>
        <a:srgbClr val="78781E"/>
      </a:accent5>
      <a:accent6>
        <a:srgbClr val="006E73"/>
      </a:accent6>
      <a:hlink>
        <a:srgbClr val="0000FF"/>
      </a:hlink>
      <a:folHlink>
        <a:srgbClr val="800080"/>
      </a:folHlink>
    </a:clrScheme>
    <a:fontScheme name="BVR">
      <a:majorFont>
        <a:latin typeface="Frutiger VR"/>
        <a:ea typeface=""/>
        <a:cs typeface=""/>
      </a:majorFont>
      <a:minorFont>
        <a:latin typeface="Frutiger V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 cap="sq">
          <a:solidFill>
            <a:schemeClr val="bg2"/>
          </a:solidFill>
          <a:miter lim="800000"/>
        </a:ln>
      </a:spPr>
      <a:bodyPr lIns="72000" tIns="72000" rIns="72000" bIns="72000" rtlCol="0" anchor="t"/>
      <a:lstStyle>
        <a:defPPr marL="216000" indent="-216000" algn="l">
          <a:spcBef>
            <a:spcPts val="400"/>
          </a:spcBef>
          <a:spcAft>
            <a:spcPts val="300"/>
          </a:spcAft>
          <a:buFont typeface="Wingdings" panose="05000000000000000000" pitchFamily="2" charset="2"/>
          <a:buChar char="§"/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16000" indent="-216000" algn="l">
          <a:spcBef>
            <a:spcPts val="400"/>
          </a:spcBef>
          <a:spcAft>
            <a:spcPts val="300"/>
          </a:spcAft>
          <a:buClr>
            <a:schemeClr val="bg2"/>
          </a:buClr>
          <a:buFont typeface="Wingdings" pitchFamily="2" charset="2"/>
          <a:buChar char="§"/>
          <a:defRPr sz="10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8f86635-5649-4fa7-a18d-bef2b0e4029e" xsi:nil="true"/>
    <lcf76f155ced4ddcb4097134ff3c332f xmlns="e50f677a-7137-455d-bcec-f35177c1ae2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24F42F1CF6890409E5F009480261D7C" ma:contentTypeVersion="11" ma:contentTypeDescription="Ein neues Dokument erstellen." ma:contentTypeScope="" ma:versionID="d6fd138ed91242e6a13a6d177681481f">
  <xsd:schema xmlns:xsd="http://www.w3.org/2001/XMLSchema" xmlns:xs="http://www.w3.org/2001/XMLSchema" xmlns:p="http://schemas.microsoft.com/office/2006/metadata/properties" xmlns:ns2="e50f677a-7137-455d-bcec-f35177c1ae29" xmlns:ns3="78f86635-5649-4fa7-a18d-bef2b0e4029e" targetNamespace="http://schemas.microsoft.com/office/2006/metadata/properties" ma:root="true" ma:fieldsID="ce27d3c820968f1a582c15dc4d0ecdcd" ns2:_="" ns3:_="">
    <xsd:import namespace="e50f677a-7137-455d-bcec-f35177c1ae29"/>
    <xsd:import namespace="78f86635-5649-4fa7-a18d-bef2b0e402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0f677a-7137-455d-bcec-f35177c1ae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3106a69d-ef42-48c1-975b-e426077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f86635-5649-4fa7-a18d-bef2b0e402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cd0b8b7-f582-4b63-bb0c-b7430b032546}" ma:internalName="TaxCatchAll" ma:showField="CatchAllData" ma:web="78f86635-5649-4fa7-a18d-bef2b0e402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BA1430-AE08-4BDD-BAF9-C84CE274770D}">
  <ds:schemaRefs>
    <ds:schemaRef ds:uri="6383705d-f662-443d-b225-c02f1f09d3e6"/>
    <ds:schemaRef ds:uri="921d8b57-8398-4c9a-970e-e06d7d9c25f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8f86635-5649-4fa7-a18d-bef2b0e4029e"/>
    <ds:schemaRef ds:uri="e50f677a-7137-455d-bcec-f35177c1ae29"/>
  </ds:schemaRefs>
</ds:datastoreItem>
</file>

<file path=customXml/itemProps2.xml><?xml version="1.0" encoding="utf-8"?>
<ds:datastoreItem xmlns:ds="http://schemas.openxmlformats.org/officeDocument/2006/customXml" ds:itemID="{FA2C07FB-E7BD-47B3-A5DB-7E76EF5157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0f677a-7137-455d-bcec-f35177c1ae29"/>
    <ds:schemaRef ds:uri="78f86635-5649-4fa7-a18d-bef2b0e402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4DE5A6B-E128-4908-9E22-98D7EEF1C4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VR_Template_2020_01a_EXP</Template>
  <TotalTime>0</TotalTime>
  <Words>46</Words>
  <Application>Microsoft Office PowerPoint</Application>
  <PresentationFormat>Bildschirmpräsentation (16:9)</PresentationFormat>
  <Paragraphs>19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Symbol</vt:lpstr>
      <vt:lpstr>GenosGFG</vt:lpstr>
      <vt:lpstr>Arial</vt:lpstr>
      <vt:lpstr>Wingdings 2</vt:lpstr>
      <vt:lpstr>Wingdings</vt:lpstr>
      <vt:lpstr>BVR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VR Musterfolien 2022</dc:title>
  <dc:creator>Nico Murasch</dc:creator>
  <cp:lastModifiedBy>Nico Murasch</cp:lastModifiedBy>
  <cp:revision>7</cp:revision>
  <cp:lastPrinted>1999-12-31T23:00:00Z</cp:lastPrinted>
  <dcterms:created xsi:type="dcterms:W3CDTF">2026-01-29T16:39:59Z</dcterms:created>
  <dcterms:modified xsi:type="dcterms:W3CDTF">2026-01-29T22:0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4F42F1CF6890409E5F009480261D7C</vt:lpwstr>
  </property>
</Properties>
</file>